
<file path=[Content_Types].xml><?xml version="1.0" encoding="utf-8"?>
<Types xmlns="http://schemas.openxmlformats.org/package/2006/content-types">
  <Default Extension="png" ContentType="image/png"/>
  <Default Extension="tmp" ContentType="image/png"/>
  <Default Extension="wmf" ContentType="image/x-wmf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8" r:id="rId5"/>
  </p:sldMasterIdLst>
  <p:notesMasterIdLst>
    <p:notesMasterId r:id="rId11"/>
  </p:notesMasterIdLst>
  <p:sldIdLst>
    <p:sldId id="369" r:id="rId6"/>
    <p:sldId id="374" r:id="rId7"/>
    <p:sldId id="365" r:id="rId8"/>
    <p:sldId id="370" r:id="rId9"/>
    <p:sldId id="376" r:id="rId10"/>
  </p:sldIdLst>
  <p:sldSz cx="9144000" cy="6858000" type="screen4x3"/>
  <p:notesSz cx="9840913" cy="6708775"/>
  <p:custDataLst>
    <p:tags r:id="rId12"/>
  </p:custDataLst>
  <p:defaultTextStyle>
    <a:defPPr>
      <a:defRPr lang="en-US"/>
    </a:defPPr>
    <a:lvl1pPr marL="0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446507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893014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339521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1786028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232535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2679042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3125549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3572056" algn="l" defTabSz="893014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570" userDrawn="1">
          <p15:clr>
            <a:srgbClr val="A4A3A4"/>
          </p15:clr>
        </p15:guide>
        <p15:guide id="3" pos="22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pos="295" userDrawn="1">
          <p15:clr>
            <a:srgbClr val="A4A3A4"/>
          </p15:clr>
        </p15:guide>
        <p15:guide id="6" pos="54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14" userDrawn="1">
          <p15:clr>
            <a:srgbClr val="A4A3A4"/>
          </p15:clr>
        </p15:guide>
        <p15:guide id="2" pos="310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7777"/>
    <a:srgbClr val="DDDDDD"/>
    <a:srgbClr val="E5EDF5"/>
    <a:srgbClr val="FDF1F1"/>
    <a:srgbClr val="FCEBEB"/>
    <a:srgbClr val="FEF6F0"/>
    <a:srgbClr val="FEF2E9"/>
    <a:srgbClr val="FFFFFF"/>
    <a:srgbClr val="F5F8FB"/>
    <a:srgbClr val="EDF3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46" autoAdjust="0"/>
    <p:restoredTop sz="96586" autoAdjust="0"/>
  </p:normalViewPr>
  <p:slideViewPr>
    <p:cSldViewPr snapToObjects="1">
      <p:cViewPr varScale="1">
        <p:scale>
          <a:sx n="94" d="100"/>
          <a:sy n="94" d="100"/>
        </p:scale>
        <p:origin x="234" y="78"/>
      </p:cViewPr>
      <p:guideLst>
        <p:guide orient="horz" pos="1570"/>
        <p:guide pos="22"/>
        <p:guide pos="2880"/>
        <p:guide pos="295"/>
        <p:guide pos="5465"/>
      </p:guideLst>
    </p:cSldViewPr>
  </p:slideViewPr>
  <p:outlineViewPr>
    <p:cViewPr>
      <p:scale>
        <a:sx n="33" d="100"/>
        <a:sy n="33" d="100"/>
      </p:scale>
      <p:origin x="36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50" d="100"/>
        <a:sy n="150" d="100"/>
      </p:scale>
      <p:origin x="0" y="-492"/>
    </p:cViewPr>
  </p:sorterViewPr>
  <p:notesViewPr>
    <p:cSldViewPr snapToObjects="1">
      <p:cViewPr varScale="1">
        <p:scale>
          <a:sx n="74" d="100"/>
          <a:sy n="74" d="100"/>
        </p:scale>
        <p:origin x="-1686" y="-96"/>
      </p:cViewPr>
      <p:guideLst>
        <p:guide orient="horz" pos="2114"/>
        <p:guide pos="3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2" y="14"/>
            <a:ext cx="4264396" cy="335439"/>
          </a:xfrm>
          <a:prstGeom prst="rect">
            <a:avLst/>
          </a:prstGeom>
        </p:spPr>
        <p:txBody>
          <a:bodyPr vert="horz" lIns="92983" tIns="46492" rIns="92983" bIns="4649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74819" y="14"/>
            <a:ext cx="4264396" cy="335439"/>
          </a:xfrm>
          <a:prstGeom prst="rect">
            <a:avLst/>
          </a:prstGeom>
        </p:spPr>
        <p:txBody>
          <a:bodyPr vert="horz" lIns="92983" tIns="46492" rIns="92983" bIns="46492" rtlCol="0"/>
          <a:lstStyle>
            <a:lvl1pPr algn="r">
              <a:defRPr sz="1200"/>
            </a:lvl1pPr>
          </a:lstStyle>
          <a:p>
            <a:fld id="{C637D311-DECC-4819-A2F6-F1B226A550BB}" type="datetimeFigureOut">
              <a:rPr lang="ru-RU" smtClean="0"/>
              <a:pPr/>
              <a:t>07.10.2016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43263" y="503238"/>
            <a:ext cx="3354387" cy="2514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83" tIns="46492" rIns="92983" bIns="4649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4093" y="3186676"/>
            <a:ext cx="7872729" cy="3018949"/>
          </a:xfrm>
          <a:prstGeom prst="rect">
            <a:avLst/>
          </a:prstGeom>
        </p:spPr>
        <p:txBody>
          <a:bodyPr vert="horz" lIns="92983" tIns="46492" rIns="92983" bIns="4649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2" y="6371797"/>
            <a:ext cx="4264396" cy="335439"/>
          </a:xfrm>
          <a:prstGeom prst="rect">
            <a:avLst/>
          </a:prstGeom>
        </p:spPr>
        <p:txBody>
          <a:bodyPr vert="horz" lIns="92983" tIns="46492" rIns="92983" bIns="4649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74819" y="6371797"/>
            <a:ext cx="4264396" cy="335439"/>
          </a:xfrm>
          <a:prstGeom prst="rect">
            <a:avLst/>
          </a:prstGeom>
        </p:spPr>
        <p:txBody>
          <a:bodyPr vert="horz" lIns="92983" tIns="46492" rIns="92983" bIns="46492" rtlCol="0" anchor="b"/>
          <a:lstStyle>
            <a:lvl1pPr algn="r">
              <a:defRPr sz="1200"/>
            </a:lvl1pPr>
          </a:lstStyle>
          <a:p>
            <a:fld id="{CE5DEE2E-5DB4-461C-B098-7A07CE0A18A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8426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DEE2E-5DB4-461C-B098-7A07CE0A18A5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3553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5DEE2E-5DB4-461C-B098-7A07CE0A18A5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2977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5556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50825" y="1449387"/>
            <a:ext cx="8642350" cy="5003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01" indent="-247001" algn="l" defTabSz="89267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50824" y="1449388"/>
            <a:ext cx="4248000" cy="50038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01" indent="-247001" algn="l" defTabSz="89267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45175" y="1449388"/>
            <a:ext cx="4248000" cy="50038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01" indent="-247001" algn="l" defTabSz="892671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50824" y="1449388"/>
            <a:ext cx="4248000" cy="50038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01" indent="-247001" algn="l" defTabSz="89267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250825" y="1449387"/>
            <a:ext cx="8642350" cy="5003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200" kern="1200" baseline="0" noProof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245671" lvl="0" indent="-247001" algn="l" defTabSz="892671" rtl="0" eaLnBrk="1" fontAlgn="base" latinLnBrk="0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50824" y="1449388"/>
            <a:ext cx="4248000" cy="50038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01" indent="-247001" algn="l" defTabSz="89267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645174" y="1449388"/>
            <a:ext cx="4248000" cy="5003801"/>
          </a:xfrm>
          <a:prstGeom prst="rect">
            <a:avLst/>
          </a:prstGeom>
        </p:spPr>
        <p:txBody>
          <a:bodyPr>
            <a:normAutofit/>
          </a:bodyPr>
          <a:lstStyle>
            <a:lvl1pPr marL="247001" indent="-247001" algn="l" defTabSz="892671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550429" y="2121281"/>
            <a:ext cx="4623292" cy="1769127"/>
          </a:xfrm>
          <a:prstGeom prst="rect">
            <a:avLst/>
          </a:prstGeom>
        </p:spPr>
        <p:txBody>
          <a:bodyPr>
            <a:noAutofit/>
          </a:bodyPr>
          <a:lstStyle>
            <a:lvl1pPr marL="245671">
              <a:lnSpc>
                <a:spcPct val="150000"/>
              </a:lnSpc>
              <a:spcBef>
                <a:spcPts val="546"/>
              </a:spcBef>
              <a:buSzPct val="100000"/>
              <a:defRPr lang="en-US" sz="2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245671" lvl="0" indent="-247001" algn="l" defTabSz="892671" rtl="0" eaLnBrk="1" fontAlgn="base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</a:p>
          <a:p>
            <a:pPr marL="245671" lvl="0" indent="-247001" algn="l" defTabSz="892671" rtl="0" eaLnBrk="1" fontAlgn="base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</a:p>
          <a:p>
            <a:pPr marL="245671" lvl="0" indent="-247001" algn="l" defTabSz="892671" rtl="0" eaLnBrk="1" fontAlgn="base" hangingPunct="1">
              <a:lnSpc>
                <a:spcPct val="150000"/>
              </a:lnSpc>
              <a:spcBef>
                <a:spcPts val="546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50825" y="1449387"/>
            <a:ext cx="8642350" cy="5003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28034" indent="-228034" algn="l" defTabSz="82412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031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544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50824" y="1449388"/>
            <a:ext cx="4248000" cy="50038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28034" indent="-228034" algn="l" defTabSz="82412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031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45175" y="1449388"/>
            <a:ext cx="4248000" cy="50038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28034" indent="-228034" algn="l" defTabSz="824123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031" kern="1200" noProof="1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0483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50824" y="1449388"/>
            <a:ext cx="4248000" cy="50038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28034" indent="-228034" algn="l" defTabSz="82412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031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5584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250825" y="1449387"/>
            <a:ext cx="8642350" cy="5003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031" kern="1200" baseline="0" noProof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226806" lvl="0" indent="-228034" algn="l" defTabSz="824123" rtl="0" eaLnBrk="1" fontAlgn="base" latinLnBrk="0" hangingPunct="1">
              <a:lnSpc>
                <a:spcPct val="150000"/>
              </a:lnSpc>
              <a:spcBef>
                <a:spcPts val="504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774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250824" y="1449388"/>
            <a:ext cx="4248000" cy="50038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28034" indent="-228034" algn="l" defTabSz="82412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031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645174" y="1449388"/>
            <a:ext cx="4248000" cy="5003801"/>
          </a:xfrm>
          <a:prstGeom prst="rect">
            <a:avLst/>
          </a:prstGeom>
        </p:spPr>
        <p:txBody>
          <a:bodyPr>
            <a:normAutofit/>
          </a:bodyPr>
          <a:lstStyle>
            <a:lvl1pPr marL="228034" indent="-228034" algn="l" defTabSz="824123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031" kern="1200" noProof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8331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5288" y="2130431"/>
            <a:ext cx="8062911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585" b="1" dirty="0">
                <a:solidFill>
                  <a:srgbClr val="333399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5288" y="3716337"/>
            <a:ext cx="64008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lang="en-US" sz="1477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12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4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6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8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60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73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5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7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0" y="1"/>
            <a:ext cx="9144000" cy="1097521"/>
            <a:chOff x="0" y="0"/>
            <a:chExt cx="9144000" cy="1097521"/>
          </a:xfrm>
        </p:grpSpPr>
        <p:sp>
          <p:nvSpPr>
            <p:cNvPr id="20" name="Rectangle 19"/>
            <p:cNvSpPr/>
            <p:nvPr/>
          </p:nvSpPr>
          <p:spPr bwMode="auto">
            <a:xfrm>
              <a:off x="0" y="1025521"/>
              <a:ext cx="9144000" cy="72000"/>
            </a:xfrm>
            <a:prstGeom prst="rect">
              <a:avLst/>
            </a:prstGeom>
            <a:gradFill flip="none" rotWithShape="1">
              <a:gsLst>
                <a:gs pos="44000">
                  <a:srgbClr val="D25B3A"/>
                </a:gs>
                <a:gs pos="50000">
                  <a:srgbClr val="EAEAEA"/>
                </a:gs>
                <a:gs pos="56000">
                  <a:srgbClr val="D25B3A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16531" marR="0" indent="-316531" algn="ctr" defTabSz="844083" rtl="0" eaLnBrk="1" fontAlgn="base" latinLnBrk="0" hangingPunct="1">
                <a:lnSpc>
                  <a:spcPct val="8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3046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0" y="0"/>
              <a:ext cx="9144000" cy="1044000"/>
            </a:xfrm>
            <a:prstGeom prst="rect">
              <a:avLst/>
            </a:prstGeom>
            <a:solidFill>
              <a:srgbClr val="002A7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16531" marR="0" indent="-316531" algn="ctr" defTabSz="844083" rtl="0" eaLnBrk="1" fontAlgn="base" latinLnBrk="0" hangingPunct="1">
                <a:lnSpc>
                  <a:spcPct val="8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3046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2" name="Picture 21" descr="Aeroflot_logo2.wmf"/>
            <p:cNvPicPr>
              <a:picLocks noChangeAspect="1"/>
            </p:cNvPicPr>
            <p:nvPr/>
          </p:nvPicPr>
          <p:blipFill>
            <a:blip r:embed="rId2" cstate="print"/>
            <a:srcRect l="3985" r="1576"/>
            <a:stretch>
              <a:fillRect/>
            </a:stretch>
          </p:blipFill>
          <p:spPr>
            <a:xfrm>
              <a:off x="6548438" y="123825"/>
              <a:ext cx="2595562" cy="770229"/>
            </a:xfrm>
            <a:prstGeom prst="rect">
              <a:avLst/>
            </a:prstGeom>
          </p:spPr>
        </p:pic>
      </p:grp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395289" y="5996520"/>
            <a:ext cx="8109438" cy="717549"/>
          </a:xfrm>
          <a:prstGeom prst="rect">
            <a:avLst/>
          </a:prstGeom>
          <a:solidFill>
            <a:schemeClr val="bg1"/>
          </a:solidFill>
          <a:ln w="6350" algn="ctr">
            <a:noFill/>
            <a:miter lim="800000"/>
            <a:headEnd/>
            <a:tailEnd/>
          </a:ln>
        </p:spPr>
        <p:txBody>
          <a:bodyPr lIns="83077" tIns="43200" rIns="83077" bIns="3323"/>
          <a:lstStyle/>
          <a:p>
            <a:pPr algn="just">
              <a:lnSpc>
                <a:spcPct val="80000"/>
              </a:lnSpc>
              <a:spcBef>
                <a:spcPct val="20000"/>
              </a:spcBef>
              <a:defRPr/>
            </a:pPr>
            <a:r>
              <a:rPr lang="ru-RU" sz="738" dirty="0">
                <a:latin typeface="Arial" pitchFamily="34" charset="0"/>
                <a:cs typeface="Arial" pitchFamily="34" charset="0"/>
              </a:rPr>
              <a:t>Настоящий документ является внутренним документом ОАО «Аэрофлот – Российский авиалинии» и содержит конфиденциальную информацию, касающуюся бизнеса и текущего состояния ОАО «Аэрофлот – Российский авиалинии» и ее дочерних и зависимых компаний. Вся информация, содержащаяся в настоящем документе, является собственностью ОАО «Аэрофлот – Российский авиалинии». Передача данного документа какому–либо стороннему лицу неправомочна. Любое дублирование данного документа частично или полностью без предварительного разрешения ОАО «Аэрофлот – Российский авиалинии» строго запрещается.</a:t>
            </a:r>
          </a:p>
          <a:p>
            <a:pPr algn="just">
              <a:lnSpc>
                <a:spcPct val="80000"/>
              </a:lnSpc>
              <a:spcBef>
                <a:spcPct val="20000"/>
              </a:spcBef>
              <a:defRPr/>
            </a:pPr>
            <a:r>
              <a:rPr lang="ru-RU" sz="738" dirty="0">
                <a:latin typeface="Arial" pitchFamily="34" charset="0"/>
                <a:cs typeface="Arial" pitchFamily="34" charset="0"/>
              </a:rPr>
              <a:t>Настоящий документ был использован для сопровождения устного доклада и не содержит полного изложения данной темы.</a:t>
            </a:r>
          </a:p>
        </p:txBody>
      </p:sp>
      <p:sp>
        <p:nvSpPr>
          <p:cNvPr id="9" name="AutoShape 6" descr="http://images.wikia.com/logopedia/images/a/a1/Aeroflot_logo.svg"/>
          <p:cNvSpPr>
            <a:spLocks noChangeAspect="1" noChangeArrowheads="1"/>
          </p:cNvSpPr>
          <p:nvPr userDrawn="1"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defTabSz="892907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AutoShape 8" descr="http://images.wikia.com/logopedia/images/a/a1/Aeroflot_logo.svg"/>
          <p:cNvSpPr>
            <a:spLocks noChangeAspect="1" noChangeArrowheads="1"/>
          </p:cNvSpPr>
          <p:nvPr userDrawn="1"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defTabSz="892907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10" descr="http://images.wikia.com/logopedia/images/a/a1/Aeroflot_logo.svg"/>
          <p:cNvSpPr>
            <a:spLocks noChangeAspect="1" noChangeArrowheads="1"/>
          </p:cNvSpPr>
          <p:nvPr userDrawn="1"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defTabSz="892907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12" descr="http://images.wikia.com/logopedia/images/a/a1/Aeroflot_logo.svg"/>
          <p:cNvSpPr>
            <a:spLocks noChangeAspect="1" noChangeArrowheads="1"/>
          </p:cNvSpPr>
          <p:nvPr userDrawn="1"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defTabSz="892907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14" descr="http://images.wikia.com/logopedia/images/a/a1/Aeroflot_logo.svg"/>
          <p:cNvSpPr>
            <a:spLocks noChangeAspect="1" noChangeArrowheads="1"/>
          </p:cNvSpPr>
          <p:nvPr userDrawn="1"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defTabSz="892907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54" descr="Sym pos red_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black">
          <a:xfrm>
            <a:off x="758710" y="468110"/>
            <a:ext cx="1490400" cy="1454400"/>
          </a:xfrm>
          <a:prstGeom prst="rect">
            <a:avLst/>
          </a:prstGeom>
          <a:noFill/>
        </p:spPr>
      </p:pic>
      <p:pic>
        <p:nvPicPr>
          <p:cNvPr id="15" name="Picture 55" descr="BC pos red_a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black">
          <a:xfrm>
            <a:off x="759600" y="3327351"/>
            <a:ext cx="3015546" cy="312710"/>
          </a:xfrm>
          <a:prstGeom prst="rect">
            <a:avLst/>
          </a:prstGeom>
          <a:noFill/>
        </p:spPr>
      </p:pic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91405" y="566882"/>
            <a:ext cx="3176739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8528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550429" y="2121286"/>
            <a:ext cx="4623292" cy="1769127"/>
          </a:xfrm>
          <a:prstGeom prst="rect">
            <a:avLst/>
          </a:prstGeom>
        </p:spPr>
        <p:txBody>
          <a:bodyPr>
            <a:noAutofit/>
          </a:bodyPr>
          <a:lstStyle>
            <a:lvl1pPr marL="226806">
              <a:lnSpc>
                <a:spcPct val="150000"/>
              </a:lnSpc>
              <a:spcBef>
                <a:spcPts val="504"/>
              </a:spcBef>
              <a:buSzPct val="100000"/>
              <a:defRPr lang="en-US" sz="2031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226806" lvl="0" indent="-228034" algn="l" defTabSz="824123" rtl="0" eaLnBrk="1" fontAlgn="base" hangingPunct="1">
              <a:lnSpc>
                <a:spcPct val="150000"/>
              </a:lnSpc>
              <a:spcBef>
                <a:spcPts val="504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</a:p>
          <a:p>
            <a:pPr marL="226806" lvl="0" indent="-228034" algn="l" defTabSz="824123" rtl="0" eaLnBrk="1" fontAlgn="base" hangingPunct="1">
              <a:lnSpc>
                <a:spcPct val="150000"/>
              </a:lnSpc>
              <a:spcBef>
                <a:spcPts val="504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</a:p>
          <a:p>
            <a:pPr marL="226806" lvl="0" indent="-228034" algn="l" defTabSz="824123" rtl="0" eaLnBrk="1" fontAlgn="base" hangingPunct="1">
              <a:lnSpc>
                <a:spcPct val="150000"/>
              </a:lnSpc>
              <a:spcBef>
                <a:spcPts val="504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</a:pPr>
            <a:r>
              <a:rPr lang="en-US" dirty="0" smtClean="0"/>
              <a:t>First level bullet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9500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1507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>
            <p:custDataLst>
              <p:tags r:id="rId17"/>
            </p:custDataLst>
          </p:nvPr>
        </p:nvGrpSpPr>
        <p:grpSpPr bwMode="gray">
          <a:xfrm>
            <a:off x="0" y="1"/>
            <a:ext cx="9144000" cy="1097521"/>
            <a:chOff x="0" y="0"/>
            <a:chExt cx="9144000" cy="1097521"/>
          </a:xfrm>
        </p:grpSpPr>
        <p:sp>
          <p:nvSpPr>
            <p:cNvPr id="16" name="Rectangle 15"/>
            <p:cNvSpPr/>
            <p:nvPr/>
          </p:nvSpPr>
          <p:spPr bwMode="gray">
            <a:xfrm>
              <a:off x="0" y="1025521"/>
              <a:ext cx="9144000" cy="72000"/>
            </a:xfrm>
            <a:prstGeom prst="rect">
              <a:avLst/>
            </a:prstGeom>
            <a:gradFill flip="none" rotWithShape="1">
              <a:gsLst>
                <a:gs pos="44000">
                  <a:srgbClr val="D25B3A"/>
                </a:gs>
                <a:gs pos="50000">
                  <a:srgbClr val="EAEAEA"/>
                </a:gs>
                <a:gs pos="56000">
                  <a:srgbClr val="D25B3A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16531" marR="0" indent="-316531" algn="ctr" defTabSz="844083" rtl="0" eaLnBrk="1" fontAlgn="base" latinLnBrk="0" hangingPunct="1">
                <a:lnSpc>
                  <a:spcPct val="8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3046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0" y="0"/>
              <a:ext cx="9144000" cy="1044000"/>
            </a:xfrm>
            <a:prstGeom prst="rect">
              <a:avLst/>
            </a:prstGeom>
            <a:solidFill>
              <a:srgbClr val="002A7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316531" marR="0" indent="-316531" algn="ctr" defTabSz="844083" rtl="0" eaLnBrk="1" fontAlgn="base" latinLnBrk="0" hangingPunct="1">
                <a:lnSpc>
                  <a:spcPct val="8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3046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24" name="Picture 23" descr="Aeroflot_logo2.wmf"/>
            <p:cNvPicPr>
              <a:picLocks noChangeAspect="1"/>
            </p:cNvPicPr>
            <p:nvPr/>
          </p:nvPicPr>
          <p:blipFill>
            <a:blip r:embed="rId18" cstate="print"/>
            <a:srcRect l="3985" r="1576"/>
            <a:stretch>
              <a:fillRect/>
            </a:stretch>
          </p:blipFill>
          <p:spPr bwMode="gray">
            <a:xfrm>
              <a:off x="6548438" y="123825"/>
              <a:ext cx="2595562" cy="770229"/>
            </a:xfrm>
            <a:prstGeom prst="rect">
              <a:avLst/>
            </a:prstGeom>
          </p:spPr>
        </p:pic>
      </p:grp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 bwMode="gray">
          <a:xfrm>
            <a:off x="250825" y="1449388"/>
            <a:ext cx="8642350" cy="5003800"/>
          </a:xfrm>
          <a:prstGeom prst="rect">
            <a:avLst/>
          </a:prstGeom>
        </p:spPr>
        <p:txBody>
          <a:bodyPr vert="horz" lIns="83210" tIns="41605" rIns="83210" bIns="41605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Notes"/>
          <p:cNvSpPr txBox="1">
            <a:spLocks noChangeArrowheads="1"/>
          </p:cNvSpPr>
          <p:nvPr/>
        </p:nvSpPr>
        <p:spPr bwMode="gray">
          <a:xfrm>
            <a:off x="250825" y="6463836"/>
            <a:ext cx="6145498" cy="12785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54690" indent="-154690" defTabSz="740111" fontAlgn="t"/>
            <a:endParaRPr lang="en-CA" sz="831" noProof="0" dirty="0"/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188912"/>
            <a:ext cx="6265862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CA" noProof="1" smtClean="0"/>
          </a:p>
        </p:txBody>
      </p:sp>
      <p:sp>
        <p:nvSpPr>
          <p:cNvPr id="12" name="SlideNumber"/>
          <p:cNvSpPr>
            <a:spLocks/>
          </p:cNvSpPr>
          <p:nvPr/>
        </p:nvSpPr>
        <p:spPr bwMode="gray">
          <a:xfrm>
            <a:off x="8829762" y="6587304"/>
            <a:ext cx="243575" cy="17365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BB69BBE8-4DB2-4642-B003-B220ACD5A2FD}" type="slidenum">
              <a:rPr lang="en-US" sz="1108" b="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FR" sz="1108" b="0" kern="1200" dirty="0" smtClean="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129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7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24341" rtl="0" eaLnBrk="1" latinLnBrk="0" hangingPunct="1">
        <a:spcBef>
          <a:spcPct val="0"/>
        </a:spcBef>
        <a:buNone/>
        <a:defRPr lang="en-CA" sz="1846" b="1" kern="1200" noProof="1" smtClean="0">
          <a:solidFill>
            <a:srgbClr val="FFFFF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034" marR="0" indent="-228034" algn="l" defTabSz="824123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31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82739" marR="0" indent="-100015" algn="l" defTabSz="82412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662" kern="1200" baseline="0" noProof="1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84133" marR="0" indent="-241370" algn="l" defTabSz="82412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662" kern="1200" noProof="1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21303" marR="0" indent="-176667" algn="l" defTabSz="82434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662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54768" indent="-206086" algn="l" defTabSz="824341" rtl="0" eaLnBrk="1" latinLnBrk="0" hangingPunct="1">
        <a:spcBef>
          <a:spcPct val="20000"/>
        </a:spcBef>
        <a:buFont typeface="Arial" pitchFamily="34" charset="0"/>
        <a:buChar char="»"/>
        <a:defRPr sz="2031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266939" indent="-206086" algn="l" defTabSz="824341" rtl="0" eaLnBrk="1" latinLnBrk="0" hangingPunct="1">
        <a:spcBef>
          <a:spcPct val="20000"/>
        </a:spcBef>
        <a:buFont typeface="Arial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679109" indent="-206086" algn="l" defTabSz="824341" rtl="0" eaLnBrk="1" latinLnBrk="0" hangingPunct="1">
        <a:spcBef>
          <a:spcPct val="20000"/>
        </a:spcBef>
        <a:buFont typeface="Arial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091280" indent="-206086" algn="l" defTabSz="824341" rtl="0" eaLnBrk="1" latinLnBrk="0" hangingPunct="1">
        <a:spcBef>
          <a:spcPct val="20000"/>
        </a:spcBef>
        <a:buFont typeface="Arial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503451" indent="-206086" algn="l" defTabSz="824341" rtl="0" eaLnBrk="1" latinLnBrk="0" hangingPunct="1">
        <a:spcBef>
          <a:spcPct val="20000"/>
        </a:spcBef>
        <a:buFont typeface="Arial" pitchFamily="34" charset="0"/>
        <a:buChar char="•"/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43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12171" algn="l" defTabSz="824341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2pPr>
      <a:lvl3pPr marL="824341" algn="l" defTabSz="824341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3pPr>
      <a:lvl4pPr marL="1236512" algn="l" defTabSz="824341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4pPr>
      <a:lvl5pPr marL="1648682" algn="l" defTabSz="824341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5pPr>
      <a:lvl6pPr marL="2060853" algn="l" defTabSz="824341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6pPr>
      <a:lvl7pPr marL="2473024" algn="l" defTabSz="824341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7pPr>
      <a:lvl8pPr marL="2885194" algn="l" defTabSz="824341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8pPr>
      <a:lvl9pPr marL="3297365" algn="l" defTabSz="824341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notesSlide" Target="../notesSlides/notesSlide2.xml"/><Relationship Id="rId3" Type="http://schemas.openxmlformats.org/officeDocument/2006/relationships/tags" Target="../tags/tag12.xml"/><Relationship Id="rId21" Type="http://schemas.openxmlformats.org/officeDocument/2006/relationships/image" Target="../media/image6.png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image" Target="../media/image8.emf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image" Target="../media/image10.emf"/><Relationship Id="rId10" Type="http://schemas.openxmlformats.org/officeDocument/2006/relationships/tags" Target="../tags/tag19.xml"/><Relationship Id="rId19" Type="http://schemas.openxmlformats.org/officeDocument/2006/relationships/image" Target="../media/image7.emf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С 1 ноября 2016 года Аэрофлот переходит </a:t>
            </a:r>
            <a:br>
              <a:rPr lang="ru-RU" sz="2000" dirty="0" smtClean="0"/>
            </a:br>
            <a:r>
              <a:rPr lang="ru-RU" sz="2000" dirty="0" smtClean="0"/>
              <a:t>на новую структуру тарифных групп</a:t>
            </a:r>
            <a:endParaRPr lang="ru-RU" sz="2000" dirty="0"/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ru-RU" sz="100" smtClean="0">
                <a:solidFill>
                  <a:srgbClr val="FFFFFF"/>
                </a:solidFill>
              </a:rPr>
              <a:t>6_84</a:t>
            </a:r>
            <a:endParaRPr lang="ru-RU" sz="1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517456" y="1422048"/>
            <a:ext cx="8118360" cy="1800493"/>
          </a:xfrm>
          <a:prstGeom prst="rect">
            <a:avLst/>
          </a:prstGeom>
          <a:solidFill>
            <a:srgbClr val="E5EDF5"/>
          </a:solidFill>
        </p:spPr>
        <p:txBody>
          <a:bodyPr wrap="square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200" dirty="0" smtClean="0"/>
              <a:t>По-прежнему</a:t>
            </a:r>
            <a:r>
              <a:rPr lang="ru-RU" sz="1200" dirty="0"/>
              <a:t>, пассажирам </a:t>
            </a:r>
            <a:r>
              <a:rPr lang="ru-RU" sz="1200" dirty="0" smtClean="0"/>
              <a:t>предлагается </a:t>
            </a:r>
            <a:r>
              <a:rPr lang="ru-RU" sz="1200" b="1" dirty="0"/>
              <a:t>4 различных варианта тарифных групп </a:t>
            </a:r>
            <a:r>
              <a:rPr lang="ru-RU" sz="1200" dirty="0"/>
              <a:t>– Премиум, Оптимум, Бюджет и </a:t>
            </a:r>
            <a:r>
              <a:rPr lang="ru-RU" sz="1200" dirty="0" smtClean="0"/>
              <a:t>Промо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200" b="1" dirty="0" smtClean="0"/>
              <a:t>Каждая группа </a:t>
            </a:r>
            <a:r>
              <a:rPr lang="ru-RU" sz="1200" b="1" dirty="0"/>
              <a:t>предполагает определенный набор </a:t>
            </a:r>
            <a:r>
              <a:rPr lang="ru-RU" sz="1200" b="1" dirty="0" smtClean="0"/>
              <a:t>услуг</a:t>
            </a:r>
            <a:r>
              <a:rPr lang="ru-RU" sz="1200" dirty="0" smtClean="0"/>
              <a:t>: пассажир </a:t>
            </a:r>
            <a:r>
              <a:rPr lang="ru-RU" sz="1200" dirty="0"/>
              <a:t>всегда </a:t>
            </a:r>
            <a:r>
              <a:rPr lang="ru-RU" sz="1200" dirty="0" smtClean="0"/>
              <a:t>сможет </a:t>
            </a:r>
            <a:r>
              <a:rPr lang="ru-RU" sz="1200" dirty="0"/>
              <a:t>подобрать тариф, который наилучшим образом отвечает </a:t>
            </a:r>
            <a:r>
              <a:rPr lang="ru-RU" sz="1200" dirty="0" smtClean="0"/>
              <a:t>именно его потребностям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200" b="1" dirty="0" smtClean="0"/>
              <a:t>Стоимостная </a:t>
            </a:r>
            <a:r>
              <a:rPr lang="ru-RU" sz="1200" b="1" dirty="0"/>
              <a:t>разница между тарифными группами будет </a:t>
            </a:r>
            <a:r>
              <a:rPr lang="ru-RU" sz="1200" b="1" dirty="0" smtClean="0"/>
              <a:t>значительно </a:t>
            </a:r>
            <a:r>
              <a:rPr lang="ru-RU" sz="1200" b="1" dirty="0"/>
              <a:t>сокращена </a:t>
            </a:r>
            <a:r>
              <a:rPr lang="ru-RU" sz="1200" dirty="0"/>
              <a:t>для возможности свободного доступа к необходимым дополнительным услугам и </a:t>
            </a:r>
            <a:r>
              <a:rPr lang="ru-RU" sz="1200" dirty="0" smtClean="0"/>
              <a:t>привилегиям</a:t>
            </a:r>
            <a:endParaRPr lang="ru-RU" sz="1200" dirty="0"/>
          </a:p>
          <a:p>
            <a:pPr marL="182563" indent="-182563">
              <a:spcBef>
                <a:spcPts val="57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200" dirty="0"/>
              <a:t>Независимо от </a:t>
            </a:r>
            <a:r>
              <a:rPr lang="ru-RU" sz="1200" dirty="0" smtClean="0"/>
              <a:t>выбранного тарифа, </a:t>
            </a:r>
            <a:r>
              <a:rPr lang="ru-RU" sz="1200" dirty="0"/>
              <a:t>в стоимость любого билета на рейсах Аэрофлота</a:t>
            </a:r>
            <a:r>
              <a:rPr lang="ru-RU" sz="1200" b="1" dirty="0"/>
              <a:t> включены провоз </a:t>
            </a:r>
            <a:r>
              <a:rPr lang="ru-RU" sz="1200" b="1" dirty="0" smtClean="0"/>
              <a:t>   1 </a:t>
            </a:r>
            <a:r>
              <a:rPr lang="ru-RU" sz="1200" b="1" dirty="0"/>
              <a:t>места ручной клади и как минимум 1</a:t>
            </a:r>
            <a:r>
              <a:rPr lang="ru-RU" sz="1200" b="1" dirty="0" smtClean="0"/>
              <a:t> </a:t>
            </a:r>
            <a:r>
              <a:rPr lang="ru-RU" sz="1200" b="1" dirty="0"/>
              <a:t>места регистрируемого багажа</a:t>
            </a:r>
            <a:r>
              <a:rPr lang="ru-RU" sz="1200" dirty="0"/>
              <a:t>, закуски и напитки на </a:t>
            </a:r>
            <a:r>
              <a:rPr lang="ru-RU" sz="1200" dirty="0" smtClean="0"/>
              <a:t>борту</a:t>
            </a:r>
          </a:p>
        </p:txBody>
      </p:sp>
      <p:sp>
        <p:nvSpPr>
          <p:cNvPr id="2" name="Rectangle 1"/>
          <p:cNvSpPr/>
          <p:nvPr/>
        </p:nvSpPr>
        <p:spPr>
          <a:xfrm>
            <a:off x="518344" y="3867049"/>
            <a:ext cx="1512168" cy="576064"/>
          </a:xfrm>
          <a:prstGeom prst="rect">
            <a:avLst/>
          </a:prstGeom>
          <a:solidFill>
            <a:srgbClr val="DDDDDD"/>
          </a:solidFill>
          <a:ln w="0">
            <a:solidFill>
              <a:srgbClr val="0000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Премиум</a:t>
            </a: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18344" y="4559646"/>
            <a:ext cx="1512168" cy="576064"/>
          </a:xfrm>
          <a:prstGeom prst="rect">
            <a:avLst/>
          </a:prstGeom>
          <a:solidFill>
            <a:srgbClr val="777777"/>
          </a:solidFill>
          <a:ln w="0">
            <a:solidFill>
              <a:srgbClr val="0000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Оптимум</a:t>
            </a:r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8344" y="5252243"/>
            <a:ext cx="1512168" cy="576064"/>
          </a:xfrm>
          <a:prstGeom prst="rect">
            <a:avLst/>
          </a:prstGeom>
          <a:solidFill>
            <a:srgbClr val="006393"/>
          </a:solidFill>
          <a:ln w="0">
            <a:solidFill>
              <a:srgbClr val="0000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Бюджет</a:t>
            </a:r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8344" y="5944840"/>
            <a:ext cx="1512168" cy="57606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0">
            <a:solidFill>
              <a:srgbClr val="000000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Промо</a:t>
            </a:r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55096" y="3930367"/>
            <a:ext cx="6552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Тариф для тех, кто привык управлять своим временем. Только Вы определяете когда начнется и закончится Ваша поездка. Вы решаете, а мы подстраиваемся под Вас</a:t>
            </a:r>
            <a:endParaRPr lang="en-US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2155096" y="4616845"/>
            <a:ext cx="6552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Оптимальное соотношение между свободой выбора и ценой. Возможность легко перестраивать свои планы с минимальными расходами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2155096" y="5401776"/>
            <a:ext cx="6552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Доступная цена для тех, кто уверен в своих </a:t>
            </a:r>
            <a:r>
              <a:rPr lang="ru-RU" sz="1200" dirty="0" smtClean="0"/>
              <a:t>планах</a:t>
            </a:r>
            <a:endParaRPr lang="en-US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2155096" y="6094372"/>
            <a:ext cx="6552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Простое решение. Самая выгодная </a:t>
            </a:r>
            <a:r>
              <a:rPr lang="ru-RU" sz="1200" dirty="0" smtClean="0"/>
              <a:t>цена</a:t>
            </a:r>
            <a:endParaRPr lang="ru-RU" sz="1200" dirty="0"/>
          </a:p>
        </p:txBody>
      </p:sp>
      <p:sp>
        <p:nvSpPr>
          <p:cNvPr id="15" name="Rectangle 14"/>
          <p:cNvSpPr/>
          <p:nvPr/>
        </p:nvSpPr>
        <p:spPr>
          <a:xfrm>
            <a:off x="2155096" y="3867049"/>
            <a:ext cx="6480720" cy="57606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155096" y="4559645"/>
            <a:ext cx="6480720" cy="57606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155096" y="5252241"/>
            <a:ext cx="6480720" cy="57606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155096" y="5944837"/>
            <a:ext cx="6480720" cy="576064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>
            <p:custDataLst>
              <p:tags r:id="rId2"/>
            </p:custDataLst>
          </p:nvPr>
        </p:nvSpPr>
        <p:spPr>
          <a:xfrm>
            <a:off x="518344" y="3335184"/>
            <a:ext cx="1512168" cy="520655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400" b="1" cap="all" dirty="0" smtClean="0"/>
              <a:t>Тарифная группа</a:t>
            </a:r>
            <a:endParaRPr lang="en-US" sz="1400" b="1" cap="all" dirty="0"/>
          </a:p>
        </p:txBody>
      </p:sp>
      <p:sp>
        <p:nvSpPr>
          <p:cNvPr id="20" name="TextBox 19"/>
          <p:cNvSpPr txBox="1"/>
          <p:nvPr>
            <p:custDataLst>
              <p:tags r:id="rId3"/>
            </p:custDataLst>
          </p:nvPr>
        </p:nvSpPr>
        <p:spPr>
          <a:xfrm>
            <a:off x="2155096" y="3550627"/>
            <a:ext cx="6480720" cy="305212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400" b="1" cap="all" dirty="0" smtClean="0"/>
              <a:t>Краткое описание</a:t>
            </a:r>
            <a:endParaRPr lang="en-US" sz="1400" b="1" cap="all" dirty="0"/>
          </a:p>
        </p:txBody>
      </p:sp>
      <p:sp>
        <p:nvSpPr>
          <p:cNvPr id="21" name="TextBox 20"/>
          <p:cNvSpPr txBox="1"/>
          <p:nvPr>
            <p:custDataLst>
              <p:tags r:id="rId4"/>
            </p:custDataLst>
          </p:nvPr>
        </p:nvSpPr>
        <p:spPr>
          <a:xfrm>
            <a:off x="517456" y="1170888"/>
            <a:ext cx="8118360" cy="305212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400" b="1" cap="all" dirty="0" smtClean="0"/>
              <a:t>Ключевые особенности</a:t>
            </a:r>
            <a:endParaRPr lang="en-US" sz="1400" b="1" cap="all" dirty="0"/>
          </a:p>
        </p:txBody>
      </p:sp>
    </p:spTree>
    <p:extLst>
      <p:ext uri="{BB962C8B-B14F-4D97-AF65-F5344CB8AC3E}">
        <p14:creationId xmlns:p14="http://schemas.microsoft.com/office/powerpoint/2010/main" val="227179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3923928" y="2314892"/>
            <a:ext cx="1512168" cy="3562380"/>
          </a:xfrm>
          <a:prstGeom prst="rect">
            <a:avLst/>
          </a:prstGeom>
          <a:solidFill>
            <a:srgbClr val="006393"/>
          </a:solidFill>
          <a:ln w="9525">
            <a:noFill/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356426" y="2276872"/>
            <a:ext cx="1615447" cy="1152000"/>
          </a:xfrm>
          <a:prstGeom prst="rect">
            <a:avLst/>
          </a:prstGeom>
          <a:solidFill>
            <a:srgbClr val="DDDDDD"/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>
                <a:solidFill>
                  <a:srgbClr val="000000"/>
                </a:solidFill>
              </a:rPr>
              <a:t>Гибкие билеты, </a:t>
            </a:r>
            <a:r>
              <a:rPr lang="ru-RU" sz="1400" dirty="0" smtClean="0">
                <a:solidFill>
                  <a:srgbClr val="000000"/>
                </a:solidFill>
              </a:rPr>
              <a:t>максимальные привилегии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dirty="0" smtClean="0"/>
              <a:t>Концепция новой структуры тарифных групп</a:t>
            </a:r>
            <a:endParaRPr lang="ru-RU" sz="2000" dirty="0"/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ru-RU" sz="100" smtClean="0">
                <a:solidFill>
                  <a:srgbClr val="FFFFFF"/>
                </a:solidFill>
              </a:rPr>
              <a:t>31_84</a:t>
            </a:r>
            <a:endParaRPr lang="ru-RU" sz="100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>
            <p:custDataLst>
              <p:tags r:id="rId1"/>
            </p:custDataLst>
          </p:nvPr>
        </p:nvSpPr>
        <p:spPr>
          <a:xfrm>
            <a:off x="988203" y="1137653"/>
            <a:ext cx="1983670" cy="520655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400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Текущая структура тарифных групп</a:t>
            </a:r>
            <a:endParaRPr lang="en-US" sz="1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>
            <p:custDataLst>
              <p:tags r:id="rId2"/>
            </p:custDataLst>
          </p:nvPr>
        </p:nvSpPr>
        <p:spPr>
          <a:xfrm>
            <a:off x="3918580" y="1137653"/>
            <a:ext cx="4829884" cy="520655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400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Новая структура </a:t>
            </a:r>
          </a:p>
          <a:p>
            <a:pPr algn="ctr"/>
            <a:r>
              <a:rPr lang="ru-RU" sz="1400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с 1 ноября 2016</a:t>
            </a:r>
            <a:endParaRPr lang="en-US" sz="1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88203" y="2276872"/>
            <a:ext cx="353800" cy="1152000"/>
          </a:xfrm>
          <a:prstGeom prst="rect">
            <a:avLst/>
          </a:prstGeom>
          <a:solidFill>
            <a:srgbClr val="DDDDDD"/>
          </a:solidFill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ум</a:t>
            </a:r>
            <a:endParaRPr lang="en-US" sz="14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88203" y="3501072"/>
            <a:ext cx="353800" cy="1152000"/>
          </a:xfrm>
          <a:prstGeom prst="rect">
            <a:avLst/>
          </a:prstGeom>
          <a:solidFill>
            <a:srgbClr val="777777"/>
          </a:solidFill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ум</a:t>
            </a:r>
            <a:endParaRPr lang="en-US" sz="1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88202" y="4725272"/>
            <a:ext cx="353801" cy="1152000"/>
          </a:xfrm>
          <a:prstGeom prst="rect">
            <a:avLst/>
          </a:prstGeom>
          <a:solidFill>
            <a:srgbClr val="006393"/>
          </a:solidFill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</a:t>
            </a:r>
            <a:endParaRPr lang="en-US" sz="1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Isosceles Triangle 19"/>
          <p:cNvSpPr/>
          <p:nvPr/>
        </p:nvSpPr>
        <p:spPr>
          <a:xfrm rot="5400000">
            <a:off x="2260012" y="3945911"/>
            <a:ext cx="2319396" cy="222995"/>
          </a:xfrm>
          <a:prstGeom prst="triangle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600" dirty="0" smtClean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923928" y="2276872"/>
            <a:ext cx="1512168" cy="360040"/>
          </a:xfrm>
          <a:prstGeom prst="rect">
            <a:avLst/>
          </a:prstGeom>
          <a:solidFill>
            <a:srgbClr val="006393"/>
          </a:solidFill>
          <a:ln w="9525">
            <a:noFill/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</a:t>
            </a:r>
            <a:endParaRPr lang="ru-RU" sz="1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580112" y="1988840"/>
            <a:ext cx="1512168" cy="3600400"/>
          </a:xfrm>
          <a:prstGeom prst="rect">
            <a:avLst/>
          </a:prstGeom>
          <a:solidFill>
            <a:srgbClr val="777777"/>
          </a:solidFill>
          <a:ln w="9525">
            <a:noFill/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ум</a:t>
            </a:r>
            <a:endParaRPr lang="ru-RU" sz="1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236296" y="1700808"/>
            <a:ext cx="1512168" cy="3600400"/>
          </a:xfrm>
          <a:prstGeom prst="rect">
            <a:avLst/>
          </a:prstGeom>
          <a:solidFill>
            <a:srgbClr val="DDDDDD"/>
          </a:solidFill>
          <a:ln w="9525">
            <a:noFill/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ум</a:t>
            </a:r>
            <a:endParaRPr lang="ru-RU" sz="1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/>
          <p:nvPr>
            <p:custDataLst>
              <p:tags r:id="rId3"/>
            </p:custDataLst>
          </p:nvPr>
        </p:nvSpPr>
        <p:spPr>
          <a:xfrm>
            <a:off x="496639" y="6145640"/>
            <a:ext cx="827467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1062038">
              <a:spcBef>
                <a:spcPts val="336"/>
              </a:spcBef>
              <a:buSzPct val="100000"/>
            </a:pPr>
            <a:r>
              <a:rPr lang="ru-RU" sz="1800" b="1" dirty="0" smtClean="0">
                <a:solidFill>
                  <a:srgbClr val="008000"/>
                </a:solidFill>
                <a:latin typeface="Arial" charset="0"/>
                <a:cs typeface="Arial" charset="0"/>
              </a:rPr>
              <a:t>Новая структура тарифов повысит доступность услуг для пассажиров и позволит выбрать оптимальный набор необходимых услуг</a:t>
            </a:r>
            <a:endParaRPr lang="ru-RU" sz="1800" b="1" dirty="0">
              <a:solidFill>
                <a:srgbClr val="008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51" name="Straight Arrow Connector 50"/>
          <p:cNvCxnSpPr/>
          <p:nvPr/>
        </p:nvCxnSpPr>
        <p:spPr>
          <a:xfrm flipV="1">
            <a:off x="752513" y="1772816"/>
            <a:ext cx="0" cy="4104456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 rot="16200000">
            <a:off x="-525877" y="3804537"/>
            <a:ext cx="2123910" cy="281082"/>
          </a:xfrm>
          <a:prstGeom prst="rect">
            <a:avLst/>
          </a:prstGeom>
          <a:solidFill>
            <a:schemeClr val="bg1"/>
          </a:solidFill>
          <a:ln w="0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rgbClr val="C00000"/>
                </a:solidFill>
              </a:rPr>
              <a:t>Стоимость тарифов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7236296" y="3036777"/>
            <a:ext cx="15121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Гибкие билеты, максимальные привилегии</a:t>
            </a:r>
            <a:endParaRPr lang="ru-RU" sz="1400" dirty="0"/>
          </a:p>
        </p:txBody>
      </p:sp>
      <p:sp>
        <p:nvSpPr>
          <p:cNvPr id="59" name="TextBox 58"/>
          <p:cNvSpPr txBox="1"/>
          <p:nvPr/>
        </p:nvSpPr>
        <p:spPr>
          <a:xfrm>
            <a:off x="5547950" y="3460502"/>
            <a:ext cx="15545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Компромисс между набором услуг и ценой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875885" y="3828368"/>
            <a:ext cx="16176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сткие ограничения обмена и возврата</a:t>
            </a:r>
            <a:endParaRPr lang="en-US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356426" y="3501072"/>
            <a:ext cx="1615447" cy="1152000"/>
          </a:xfrm>
          <a:prstGeom prst="rect">
            <a:avLst/>
          </a:prstGeom>
          <a:solidFill>
            <a:srgbClr val="777777"/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Компромисс между набором услуг и </a:t>
            </a:r>
            <a:r>
              <a:rPr lang="ru-RU" sz="1400" dirty="0" smtClean="0">
                <a:solidFill>
                  <a:srgbClr val="FFFFFF"/>
                </a:solidFill>
              </a:rPr>
              <a:t>ценой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356426" y="4725272"/>
            <a:ext cx="1615447" cy="1152000"/>
          </a:xfrm>
          <a:prstGeom prst="rect">
            <a:avLst/>
          </a:prstGeom>
          <a:solidFill>
            <a:srgbClr val="006393"/>
          </a:solidFill>
          <a:ln w="952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сткие ограничения обмена и возврата</a:t>
            </a:r>
            <a:endParaRPr lang="en-US" sz="1400" dirty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1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Rectangle 203"/>
          <p:cNvSpPr/>
          <p:nvPr/>
        </p:nvSpPr>
        <p:spPr>
          <a:xfrm>
            <a:off x="4959102" y="1562670"/>
            <a:ext cx="1156240" cy="453380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2410458" y="1562670"/>
            <a:ext cx="1156240" cy="453380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1" name="Rectangle 240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1QIPyzdgiLUyzw7mgd0jqO1F7QB1f63xV2T3YlMOy0zs0D81Ub6O/Vm7bR8vy6/faHEFgfVJtZJzfsDee5X5Re3quTDU/YhWrArv6SOPf2sO644nET5Qz3aA82cs0pGUQcGX08ia+AjSduKdOACHlcQszaFsuEd6slKMK3qzuaAQfaoRfInBTsaKZW7gpkweTrhtuqxpi92dZCCPsa8Y7j0oM0P2/gkciLJSM8NwHhVhgU8S0HGNoosU0MhFb3Zk3YzJku971I5rlroYEXPBRprwSIDlVE3VPGBhzS/78T5HRkhKFe8R9LLowSIKatl3lzGSR/bG1a/prusgu3Bu7he7Lu2trHtbmKtdgfYTtC95z0e0OuRg2TzKdcetl23f/aLVk773oSX/Dx+30AMXy/8/duXFHtvTJiZqiNeOiETP7J+wP/bwemFeMpjZsKxW3lbRTJ7H0MkoWc5z7RIh4KA42auIz60GrL8T6hbDJGQxrVCbzeAQAxxVyrZlLmnlKjtvJkH0JyrGyz4yzshEYUqYblPuAOIFniRihMuzC3kui8JPEB1SM6B29zkmvfYno248pFImMSbpuuwpt8Fyv0sdCjFsm7O1gj3Qb8NALm70LNMvGq8RHLO4RL8nqX628haBPgpT/77LqRr2tz2Rov/7BW30Zx35nGQxwBABKqEyaQV7gNLaDMVsiChHx/bGAReggs/0Lp58dS4h0PWR3B17wKoErig8UorFLLu6tFUSR4E8oLKxJDiIkwZGjVfY1y24P6ReRn1NmI17HRaVbmdNPmlEkK/ZuOO69P5u4Go/RmImqrw0FbiqQ0szCkrqw9uJxyhO+5IMkHIr6kBith2TLJIwqdIKHjsVdrKyN8FMaOIh5FLgMAXm8PCdK+DPphGQ5xg31J3ri4okcUkxZVxL1ddOGoPmuSZI9IzKJ535ODLcmQXGDqE1zzIr9EuxYm3Y8VPkbgBiw/KIdXlP4Pu3zgUazsl9uqnljBvUD9CVs/6xWc17TTHU6Gn7PlAvkBsiiR0828f6RBqB1/0Qm68/yTaOEGCC4/2MnRNfzwtxGWY+PPklsm9OnVsc+vhEEznHSNDhjec6xYZyrXPHJQTC9QbqQpSB3TQt35ASOYCDcwk2ADjFubR4frPXpJXR1Jj7d93MFjKvCojSz9BS5HgnJL6GFwSOYVse9HEtvzYgkrSRNUdF88tIahg/fJx1LDAJ3kOqJavlEakqxxGFggG72WFIaWB0yM46aTw156UCbdKUvOdI4YCHfF/VDIXFnRcRayTiAGxSnia0BFsXkrfv26668n2sEmU93Sewp+CdH48PF4S4yO4rcbCs8wcuVSeIJ2QPE4TFbQS74GJ9Krp48YcUAllGS6Rb4wQE4L2O2EOeq6SS4/Qshvvvj7pQpn3cy+2an444VDY8vV+liKkZglxr6iRrKwqXv9u4eb3O2saTxcH0RJZSyAXcYk5BMv93skq7kE37LSfsS2ASrbu7M1f4h4JjmFIcQtjGJMir5X4UyCKywWGJLOz7TfiotFesu+WqKqGsI8wHpNiMDGNWjlJbkP9amTOYjcasz9/X+p3V6ARACRYc780t90B5orevtZ/ZixQerNEqSdEm0F4gHC1DB+dagtueTEBQhIGx66VRz3zEGb1N21572lYAHP1i1mtwe1cC9FpdFmXfB+E5BWy+JzAVMgRJUcIFnPvBR9IMZvNrG3UN8FGiuJYOSXQ8B1jjrnxBh3Hc2/Ny+mRXiTWYbA6O1PyjvV7P10SA5nAROOzh8lOeYAvsu+llyRc1ClP9X404Z1r49RDNDZe9VSDwVfe0lX4tzEsk7qSUbUtAb9/RAqZ0LSL8OoSG/0MZwdo+8idyzm/zhQZsH+xbkqrWKd8F8VXLJbAqBsoxQ83cW997+OH3/I7Y4hXTzOanMDzYHlBGHLJa/zIixlqa7eVnepvNNnQQ+GrMXWeR7AJvDF4uokMVjzwSdOu3KjBe0fhItuxsJ/Mt42dKTdXA6OX2ak7otavAexm+1XAR5ze0fVxouTOoFx2qCLmNoPSTH4wmABBZIwsmDg08jwRz8BWxBlf6p/wdwmqbLP3kwp2VSxvXNfBbuaqlYASmHWOnNmr66MnlcMi+P3F4GW7BHqDdKO2sLug7u8Ewif+G7zC7m41ImMmhQxo2ya9rfa76MJxVIowWStj1znXMu4tOB81xy9i12m+z68VOKdkvtH/69VgpQ8hOl7rSPZ1/UTWjqm6wtAYyGsWcQxUzan4aQaeicmd3r0tw4BVI22IHqxKGe3Lu8RHwIuo48gbm5pOiXBk5bbSYgD3DSXB2el1OkkEtdcR2EHb2RbslGmLFK4d2SBQY8HrRzbJflaRmfrcT4vrClCA0IO6N03Yra/QA2yycPzcwHdpIanXmc3zqtvEuRE+9l7MB7QEbD6/zN3O6V8uiBg+yqEkIAY8WqOrnGkE3h/kiqPVQXK8lJIec2TbQK20PfYlW7SY5hA4PgnKtsLfIgXlHrZ8yjxKTOZ4rOajkwqf7GSIUUls6zyQdE+e6AESv2fddqrVlEtqYUCAtactRN9m+3s2zPr1fC0genPQ5THnVeUn60jJEOri4Vu5dOpcT2xbctaojCqFC9dj2n5xipI8pCxoCAH0tfArpGhZ6l8mzNOT8l2J3qTPFVqBP0etUO2E8r6Sgd49RgwcX3PGrKXFrMtYvXjBqcERXrfjGXsqoMl1kkgXtBbxJBA3Nlpv6eJ4G675zvcJHK6kxJgQgieTxh1VtUDO7MQWKnJLNr9V6wPrdFg0qKTqMk7meGyrp2nFJr7OFtq9c23mdJQX08UOU5O4UcUuUjs5KqvGIXIXlUbiveLNF3XR+y5daBcIPo8aU6plDTnqxHPcilfECDtujqCfc78wQkfMphSxelQvU586RKaaGqssqxkS//2MQomR58wfQpTjehA5pDazm1Ou3GiCEoyPbPok62a3yB7DnBrhzLduBOjtUptQvHcKs0ZB2oirT+D/0jdoy2CeHVREJ63YcTwx1T/W8R3QCbzc8qx0xMbGk/Y1yhnoAmy7oCR3FGsIhLvKlkbJ56ddCUoQGwRHjWbXqEIb0bek5qCWL26bwqaiaZDmOx18giSxSWcBWwdRQmehcMeHXqfXOBpx5+FB4Ciehae6cmKtMKNbXkFaTwny0RVKS4tGx9gJ/Mubro3ggCmVobYnIejioONrd0hCnEJaJ3q6pfxnU0Gg73MxQWW9jkUb9F24tKJA4RlfQg2K2KtiQsaCHDOX4UtIKonCPMxU/CwCuqGULDel64fA1F91ZJKHiId6v4U681gbBZlZV1EhPrtbX5o/khy1fwEFYkRrfwoYirJWMkljau0dqyVWWk90HlF7cIbsKzUqwZl3km49zTgTTwYmrRm7bQfIFtuPBPoCGaz16askspv3FloVFudwgcJoEvjR9qPvxC295LZpb7ikwAUNt6f8TPaykm6fIbErINaebT8e4IUO1Ux9b79GzhwzhSDXewVjce0UgI3CkgBkmeEEPiUErOfW6SPTm+OjkWg7YxLKc/VofY9T5VY3Vig18FREquGh94Ax/+OCb+J3eRcZk/iP+++5TqDOOM8W5m+xbk+R1CNcqM/Hf/mEe/OgChM9mz5c6rv3q1zXSL0Sm0NnK2MusG91FZg/oMMR9X9EQYC21SklZpY666bEvIawNLETLoRErcJ++cF5jQV2gRygg6hKeagXX8csP0IA2/SDf4vfNJ8b/kVjQa3GrPxEVD8d/MvGgS+PBHfMoRT8dbm3zkHa8c/JR4HO8Iu6A8WWbpcaJsFuvJ1XrHL/R0hw97gHeTEUirip10kITLUswXI5ls5qiEkG6uevt2CGepqiP3n00Bnqa8wel+NpqDwJ+ga0lEdDZMJG3myY9DfK8LxJY8NpLVZ9YOfxvJ+nt1r4FI/NdaNI0BPGRmM4xC4Dw2OXXnAXu531V9+jJkQ1htfE+E5dPNXrew+aHl0DLpRI/DBMksm2ucDgiE3kPdihJt2R43xjmQS9MjZ73s+ByInPvtKdpepoZ6HL5LO+ivHGFXVGWtlTQn5nTVhWo499Mt2gR4vWbIS7iFkeYDb1h+TD1jcBwyd/b5KdmFApStwqREmdCC+3w+ESX+JSl8R+lT5IpotN1huqVJnJjFmUXmPbSpso3M4GnhH9UOaJcZ4i5ZCZL/nQJDtMyA7QhwImFOrt1sDpTUwrvPp2NBZgqCw/RfBDx+/P4pttdThoZFlUJJWOcdUv2+WxI4wZOMkGy1XMGEYcMLSztbgbrduGfCqa0aqPjesWpi7cGippUZ9/EcwXUtr7XRe0kF9rQYQqJrUS2jZw80318m0rEiIDMYJu9mxSqnYoOeRUesNC17J/VzfFddY1ubcVMyfCJ7GtCNJ0QgCKYQ0vrBYtcUzktcz3Cox9UMo4bMFk2JVeBqHCohGUOk5CyMKjCG887JI7lPa10npuSyyHIHf+zuWVb5v2TLlHViUYtyn/fatEH++jeOhbRT/BTviC1mlvntejTOKBCyHNn9FNyBbHpz5pIeJC3xvXwdjto8HZRuIFefBW83u5j5VlOHXjqc91TNJlmDnMY7mDNltrmB4nJVOlFP0sY5xzXKIgEaYB8jvrKj8/V3TBYvPf/wmYF5W39dboPtCkPrh7qx4N6E+7ddAebHDzjx7LdGsfNXHtGzldUnhWiM7x+fiCNDcjvchnxiVmslbADkvNEJ8SXrE+e3nr8+SHZ4SwTaJIyPOhBdPX6BurA+/RWMrpzswPkSxiOMRfiag8k393OGSS3JFdfYwHhalzP+01DX2fr/86tJigCVkeeiYk6jfv+y5xGl9Na2+UxQSBwUpzCc8pjiQBnwxNyNc6S/4E23/MrmgwR9rLbscsB2IC6rYJ1NHzSNzCx5/gkWptx+UCBmJUFrChu6BIC92dHmx4d5gmFU5dTUyP3MnNwNbQzAuCLW+x1FNLPh+DMiHYemgA31SiijojrettdL6imtVWFmTQrVTgvqjGwNPyiMuelXuICmSIwycRVypoUF6GyhVd/Z3CV7If63VlbfIPTNxs9XcYpwQKWtCMq3YuktTEoDIFynTJYLLNzZ3BTH2+DxALadckkMiNbFxmwRvCFj3nsqP6zd212kxE6SsPQUxlCIC9R26Tzoc7cVZjkUftXA2PiJ4IQ0g+aHEfnoLBff8xuWm15lvRnCZMff+0iswX9qaJUnL+5kn56Uz5GFD8W3czXOW3si+DgpsDbsjVQhU+L7mUN8qX6Fz3NTLY+j7xF8GuRllbGcpNDkHprFTCAbrEpSsPHojnL+YFPHekctq6T2m9/JGi5BVg19bxoO9eUe2E3MOfEOIWpnA0JxBU6R4qAWnPPkIIYyUUr86SaHJvvVGRg/k94F0kei1oZ3xZAUWTmKhYgD2Gnk+9icexKibAavp7PpnNhiDno7NgBMsmsEnU4KHoc4znv1jJQiwOKxWbeLHIxkVipsIoxcpTv0b+vHA2oTwGWkh6QpElfM0AdO3z0TV+4EFifBL6g5umBPfRout3FOvwErsJGu9gAx7z/6jKW4srpXqFVeOoQVk0IzfkrqoJdhTqOMWGFFYMRXLxQ7e4BrBIdO2bEUf5FUceACBTtsiAgr/mIN+QF0NVcvPfCINSwJKbOSWfUQtBC7IVYaP3R6P+9wPXY2MA8FGN50RQ4ISI5AcKvw2QBAJrEhIMJS+GQJLoFwaVtEM/pAluiVx5mD64KtfZg/buB/wQGo+jSl+U//tABgGc48pKgHXS6imMhPeliZcyMwJQTE2PSDnXV7XbO3x1+NHxeHA4aNKxcwmLzKX/xdHTe54Wc9AaKDke6bwVQKd128wA0zUQwA42d3T27Ts1gUwdRbtsOstHGIa53dtQ4m4PNPqMbbSTq6QWcPK7P7WrChLMpIxud8bfuNHDzgIoAeKEpet8VhOv23Zv3LcUNEXUwe3t1kVgNPsjEMWYr2BGuzu8Qqr3tXscr9GyxrzhFZOYAS+PdwfSxYiVkZlszyD+Ad6mbSHGycBFdjQFA0IDhel+wi09IcaPhHy77VQC8THdaDF55rsDvjU7fuMY2xKAVYMIjWelcyubQbxeF77X81pVBVDCjRGZArSp0MrY2Sz/VWJ1e271XgIkmzKdD1R2fzzFtNKYXu2NZ3IMDhn7orWWB059BOJ39UO5ZoXALB3MOVbA7m9l2GrEl++vuukPOx34yIiF0Hljz+UdCQ5r4tKwswG9yFdO0eFvwvi1Gsm0e3+W2225/uiDNF2ejgDXwWqw/HgMzAbOrvXFC1LTCOExU0r3VF0llJgIN2uCJtqOmC84ZzHpJMrw9F40OuYDll6PRUv/8pq/RsYPXVDlqMehkYiaQRsLk1iFJ7aDbCPBFeiM+8Qf2xACAKU/K34gDtmFZbkSTt0uJOSEVF3eInJYxWE8WjfkoTsc/9gtKO7woheG/ZbB5pPhm6yHSgZuo0m8S5aCK802n8IDzlkrStzZOmX86cy+2Itnzcb/8Ed46qOr/GnVayoI9WrGRsrT38TbSH602nsvfh1D1SD96aJNKcQPOXz2YPMzOi4wTvUIleSfowBHhvXq6EHS+uGwMZycc1ZQ1Rft1NOE5/FQ+RitNtpgeJJY4aDQZcVDqHQJ8gZDrKZNxdfCv53+eYV2NCheVVRTD+dd6+6rJkPeN4KU1Ba6D2EDi3nCqgety5F7esyYLLSoB0gB7qatG7RXSbfkPX2nyyBBL8KHBvyplDmNWlNVQ1Ai52CiLff2XhTY/6VQZD9z6akuaa3S0cTHTg58RBmbVxskxc5JveEONI52Zl3zgZ6KZcH0AgHFxyRfeGDD2+CKTkGEVHSIUPJ3JtN9D4tO742Pzyu8ifEYZ0d+4IdxwWjhCKCtNvVdU9VXCNBgsy3q3j2OdNKVVBfh235FTUOfsb2XfHIAnGAyz6dstkes6cazaKuFLbcO3J68wM9e9u/ditB8WEhLFRBflKD1jlkYoDvdlRKegWq4GEzkH6wZurjYfm37fFh/2HRTWqNT9vNucL5mXsRS7MSFGF6OJoAKcxwAc6tjL37tVGcvu3kkQcchMEDPhnq1SNT14EnXBDuHQCScCTN3jWzLnIoH19c8aN2f1Mppz28Z7x7nvvMVonmgCl7qC6S+Uc8mA3nNI1IyjlzCBBGLi310nLs/tIRM7OvmY+bFjif3b5VOjBCO54yJs/OnZeYAoMh9HQoGvhbRWpxn0FiUBVZqhT6f0M1vWEZuwGMQ74kHXf9zK9JjJl3nQ6ANRBfqNEby7GZfvXW9TwVtzPPClwuaDxlEWRz+uXhyOmFf02JBmmowHPE3ZZrOZu5KAFWZjj4vrW5L+NSOGnJDLCLICCF87mPwXWp8oY+RZjg1xyK+uAX7zXMr2IH29urrlMbiYNMewlLZWLT+YdQeaVWVRvUTEGek/UnQ7p2GjsRulrciccVw659t9kzQuR0a6uHqg5vyDegdpkSKIIG6FE/TAA/3bsyBSge1r/hgYSq3qlzBq8SyrMpoW1Kk5WEsi2xAWIHsZnsP+A4J4MSlZJXzNtYNObeHzxjdf1LiVXkxao7yAL24iVhlskwtTWnOhsDJob76BU1N1yRpmNg3z1ibwcmX+xdmy/RKcXdNMHPUa4Q0EvwkycM0OpVgxknQ4J/oRJsWwsfWNJBO5omZiRzfcQY3utnDO18ATwNpCeeNVTkdbQsx12M7RVt94OhJqLzZDwusggDpeMihkQt1uOTT9LEbiigYNBCJhma1TdHXlw2Q5UQRy/Ta/pveVneOBKxzvyofUFf4vtAt8k6E1ywujgQ8+hEbikja8DJoZNcBXVzwQ26iVYhzxkvXzQASXSjbCyevH74/VP+rEfZbpkZmmu4wNfKfba/I47TDOPTxKD8kuPE3dNipbQQ/AsR1fiCt3kgwOnZUQ+xNFcMr6yBSO2gLtS5niXpWvHjg89PFgfFJ1jBxlHvyjGz2J1kgT5vqx1QWrfv8qg942CMPdmVPk2dKXlVNln/SeT5stGoZvaVLVUMHF9ko/gOi4GNkaDFf8HE/dd7MxnSDJdSkLdxvzkRv60WgTBXcwmTBfmGdScT8L2qkSNl3Ab0j09FekEHJKqguYKqFo7wv+ncMi3MWCQQMQ0kAWXBS+VD/2Wyd4OkdOcNDpNvl6gDSefHf48fmx5oj573BbjB5Yb2CT6kzWTZ8OZReW7aNnjM6h5CLyRHudM3TzzoCScnGTVer7CqVdBVzEFwRCNjp3yCcOom5VelVPpyZJ4LZRS5Liuj6cS0G9cPxy8abpXJgR3FDRLXaNmF/p3Gfe1naDyUuqiVjRQYp42GzvrkS9MjNNkXMvInaNV68VvIlPMYH7isAudPux+o3wHpppBKdZOkFPIWnPlJV/b1xfLoFBterA1BHK5jXF8gwT3fTllN5nyF0MQ/oQX88ZETZkvpdINtZB8Ah2VWq/MllR/FoPYRV13p5JMKUF6OLzeni0gEAN9vYjuUJRjuhFu2g/jwINBnd4LZc5hP/I2kFsAiga46KkUYVOPuuZz6ELsiRNqra0rY4s9azP77NqxMzS8e5UoejHqqwHu8kWe+h9U0WKVDgRVQjOhgfQ5y+unddpU0gn0uQ1dBFWk/fhEF/hUDFzx0e/aNw2bSNehYWxD+bYZX3GMhS4NpdKhum59vNsI8zD+HB2AbUU8GS+v1EbRxA8F/9JJRZMqbEqUBl3q9BWVfEYSOiCbLeQXDM2xFwwZeHejJkW3yi9IU4dyQazbxbNAqsIgua68dWNxbNDxXdLuiF9NeHbNrDBJZkBHKD9Mlf9Shrnclg91bZqFuxE+Govemi1Crj4EBkAHnEY0BeetNm9h1uz6GUrqG8BCZu3SwtMMyfhWEc2JVGzCcUTMU4GvDg9EeqEb8e7y2JHIgPDT0C1vK2hV5TLrvTQxtKnlN29ck7QNOS9OW2DLJOkIxhOAJv+93IDpOVsS1KjXBgIry2RThdg8dNOOwp8NGGCaNKBUE0Oa3NdxV9hgrCUQgLiSQECun0ukimlXoC0mEdXuXhIBHBDfwvj2K20iWNUftjYyh75+DMLkRaiQxPYUg9f2etFzkSfSVxWCgSxvNyhOZjoD6WrU+FbptBxM0S2QH7koMmmsEVraKvGJtj5atzZTyzU2hvE6NpehYHknwaid32cyg6F0CrIzZ56wMD3SsUVDWWxucIL/Z+Spect4WGCnwZ/DTCLgd5gxRspdiaV9mlIDffM7GjYZchTuXOxnZ2GqndAr9tPIRJb6bQFWcRextX/Vzp1vw2kaE8k+P5/rAx4K0sNS7oZRPK1GWKzlfktPHkM3yAXyTRw3WkTmV6wFwXDnmaXHkCVn179mR2wGaSFjxCFVYoNcnNh513LNRbtCxIhhn7soNcVpKSqpr0FYzbzgz5X3GMX+RHuqWVVe7zMv9nrZM1b7a99zwY1Jg8CTl4oBnsB2m/zhKbyXhC3j0XcE3wb6/915ygqcc6MJvl3Iyj9fugkYa11uLozgwZdE16spk1giW/H3vP98e4dig3812OKMs+9O6AAj4z24jgEpPkQSapN7p0gr3qMprvDNXqMY5Ba8iPPfXoYxTP5oJHzluI7MNY4lpHXAuOI6mU6R7S0hu+dAgPIOz+fkbP5Q/Zsh7oflr20Z4yN6kkOAhip9/eDvQ5kZ7Wl3/WbkCy8AdbaJ7QdIyw6d5A4dHdEvBs+EP5NSq7IJ5RLLrN+Y41ETWD2QLaNzNshK/F3FmJEgO0kS6TochzBpU0dbIvn4sdoid3YqwIM8rnU9IawxduJfnw32D12WWqkdbCZY3NjnLJSiNWT2Y8yhzKKpWEF2qEjDfDIEqT0m5mRq/zfVvBf/z1tb0zEtncUujWI45lVV5iW3XVNpaJHFDxA7+kMce5i9fsmFfKKtp2NBuwESNLkXWn2X3YP+995bE0fwg50x0hxNx0iDEyyMf9vs5boWmmnzgZYCBXaduzqnKQMdNFAEAO9tHlQKB5wsVlnggAunSaKotwDgNodkX6WJEJ50ZFfv8OpQQLo9bIXBwE1l+6xsCQ7LrmGrJJBiQG+eMwpIsx0mwgKteMVy1X1woW9PabaFHG9K5FXUJ3cc5G73j102p6RITnRuQnzRX5JYyIdNJgDdjilJK20Q9YzgB8MXloScRS672Hz9cZ9T6/PC3oJp+ec3fdXs6tTKBfYSkmW09d90sXCaWqriL961hHUopaBIaMTmmfT+S5XQQLE6iySaG+Rw8m2YgxKxT1DbAsW+FE8Dyg8DSK9qPXRt0SEIzydXqmc8VIOfbzQT+o2xetMgUCU1x/uL5nKS286xv6uWfnCHWWYABJrMMPGQNRzWxCU63qms7QAq1HLLZLsdq+gt9696CJNo+0ejPArIY8dtlGdH57YtmxeZ3JipARQyuEAvf4VpJ+ToSL7rZCN6w+HXMjtqzWC4WzSFyQPC6cj5tvbIfaPVJLnHEFuuzeyV8gBpkLQnrdQc06zGgS+pKgCQZK1K9hKCj1rjCX+frFC/lU4vyvc29DTffWbZDlWws9PR52C0CdkGbBfdpmuFEFXywvl47k7Z4ZVZHe5M+rNmD1fpmtGw8J96Ar05BQ2ssNXTNAXz5s4Y8gTntYEzytjOKoLgvJDk+GIi8Jq+OwCnfdeDXVxOTw0k14bl79T2s3QBPTb7bDIuHjzvlmJ7/M8/Ta4ucn0L8uk4eVZLRpFf2A7IYj4z3t4jiV8P6eeEaiyIQqs4h+6GW1ODKZXZWbCZUdOXXfElVj8zmoDDSjVx6nQQH44xTNfkFzBsE+s4+aH/vOVFPwgegD0eC4RGbL3rjZ/0DOdGRZm4awGJUYXgHarqMiKoaq8o1kzHT9LvHxXicWfdCSEGfNc4JWQenqyWuOM1hOr2SgffOWQiuLN3x4zoxmCyAZ0+vSMq36EdsQ+JsPNNonaZfP2CB5PRoPQaOA9V4NrXz/6kYXQXaZtzugAApvJM7C1dojEM18uDcDgl28f2zfRt4QKKDm71pPhw6CVcPbV2XNQ6AB5SKcDOMXgfwocqolRJd+ot03+l7bHRqEr7fTi5JDC+gQ6Yu10/jmsJq1j9nr/LgypVnBvSlOYLsOH3eV5aYFsn8TPXzgE2zXNnKoJjCqaJ3y1bciPyq9iiQ68IoFke335cYnBVDxF70ygXYpk/vWMvUBrJrDVy94WP0pTX2W8iVCok3knImwtenbBCFW3eS6/YNXD3kf/YUbBz5kJBJCWEOIt3CcU56EtgWtX2yw0XKyIydKgOec4K1vAF1DMCETn1kEbwlOwwzB0/kN9SMgd9Cn7MXhqCYmhdPb9STClSX/q+ftoVdAu0+TNGxgyy93T1aWkphV00UN/tEglNqhP9hIZNznoQHmvbB9aT5PXKJLqqxY/sZ+KlEO1ExwfguUEDYVX9yNJ4PyL1dFdEZWDhy5kJ0ZLwDj5zD36pdk/ToAjdho+wwQGGyGE612pbnduJARMipgyuwe/ZyGZK/r05yG+N6VzrioRixQ1ig1yHYNJVpl85EsFoOSuudvIHkZMlGqkap0pEhSAhVBrC6TpYrLN7Wj3pLqlA9MOawcLRTE6kgs5SQaDNHWaCiTlpYbHUgIdRcXXKlEIEudhKdG0ByFqVqYxq1O+YjqKAdlO9aqPDIIZCKVVcf+m8zPZbghnto8+7ZEP2+0iNfWCP9E+iXRaQg72KDw4aepvMEDledbpCX/fjc2792hBz/qydnLHbbfRyauhdX/pey9WS79OokayG/ywU0+e9Bq61NwRhD1mdvkEoZsVE9sS4OkXK8DhjEukIpO+BjtVuJD729hqfUdcYcZ2Ln6NMpdMqj3KWHoak+JTM/PcwhvuXLZqJZLbbbUyELxyye+pBEXnblwjumkHu6xIeTMXud19xzYJh/g/RxnbQJ5n4JgquRF6BJpanuL3m5C1I19NVx8ZPBXOuCmQctKKNqK9Uw48LqSvcMYqtE5elffQf52MtSxTLmfn3Xdpj38cqitaMjPBfYfEowhao+j+tmYngz/1jqGT1t9PSsI7EpxQL9nmel5xbmIdvhtX/noznNfzEij02VLGl5VHdd94Anu0LkMrHFQP2x2xeViDjh3iOUfk/BmmgkvAfgDsl1v4f/yGwflbSF3WVV+k70rOXCH6Qp2S+me46baYXYz0JwpeVI4sFYkKgkSqa0AUgrhW2BJ/KEKQifBRL0oZW6nfsvZoktfBc+VDY+OL1zL99CDpcJnMwAFoWxglBgJuniIFbyqS87SkyXEmx6zRaeXwLlBL/4m1VkEFhFJERktkvO8uGAersk5uX8OZrVH1iavnRWlNS4+jzkNdGi5GolD/7rgX0HSG7KUY/RGbb2o+SBztp5124/Jwnmt61Gjnm4uVNL8uKuIHQ7dHpfmuROhTF5u5xMjqJnifwo4JQhO0T3A/O1P1QP/8GwsHIg98oDFX2LXJwsJGRziAQLd+sgy3znmTTQLtPGs5WJ/B4hysroLZLjLzYy3/EpzE0MCmcXg4vdhy4JOZMcs/3I5HXh1SiuBAhk17q8XjXlSWuMd5OQ//GGju91V8Hpag+Y9O5q0R31T9KbUGic0vGDonPowzDdfknl2GHdsDcRq2zC8wRLDd81vwtOAU1qL14EDuUwbWyT/lfnQ2wwLviqJrzMT53SygCAGj1E6m9x3vi6l3SfDD4WrDAra2vhETun9QCwA/CTsrF+2ywTG60NNkqIK15N8kWtQ462GrMgnbD7vNgEXdmgPYqEjwQ1nQj6p79cmeDDu4XCPxkMK0ZEVvbWyxxqcXd4O8HDxIQs+yQNWx5k4lZTgin+PLidyZ8r9ddDqh7OmTROT7omHGLj23YGZ9LjGq1BRnbUCopM8joJixMYmt1nhquGQ2xN9fANJG6bYqUPUu1g3d9dK4bg1xC82wlmRWPnOM8NyUGwfr0N4CKo2P2tHoQtvHUJmFGm94Ty69hZWVULk4yiUKdw1svIqRdgy9AG1R0NZhEzLV7K3/C+1Gi89AyqEgVEO+XBePlhibvjaGOLsa4v4untNF0aOE+4J8A+o3UscM4Ak2o8PZV2U+tUgCIbrWPr2akJMegFGYwu55K7+6xv0DZ2uNOEPdRLPqY+uKkT0ECrXn6TRM9d0r/X4uL0X17aLQbR2tZo0u0qqYFXNoLHbnfsAE99Dhb/bN5iBoxEhHfm4TlCsB5RxGe/LOEiLDxCrT0gSNq4/Gbiw37ObMgh0VSFD69zzxrpfHDuCZQZ6h8gEArX7dAs5PKWhFuRoY3Q89lTwzFDe6fuoaSETUPjaco0VEHVjbQ2qh2fLpkEE+1Ns+lW1hEcOn/ZXho8Cmsjmo6GkfxB0Z7cNIARqbt96kBJJyH0THQgmnGmTh/hx9CSlI7J+QSXUPltEhh6SMxW0k/kkTmRL6ZMUhsHRQ/V/o3HQ0ysLJQ5g2VAyEUNXPuSylVI7iR+0MN4LHzR76HkmlpLWc4CpKqO+wG7TbF3DmoK7dQ++9jjv4R3Qdhvvg3b8abYEr7Q+8yZqDZd4o82fpQPZ0QPisZa0Mjd04e7N2FpNa3mtx7BEOOiVSn6GhneBrVT6QUHCMN1Ebxmgi+BFjCpDV2ZbFMzfwKR6dvH0oGx1nJGde3YOilobk6avFlPN3ObtvVog4e4bWehyyRe7e1NePFo6U9OZwDeov7G4JI1QGMnC5Y1n4JqYOShvHRvvTzWZLeoT6QRygZee4AIJycU7ZsbK8/Ep7Fhr8/D9E5YwFwv/T0+qY8PoA8vHS6rZFFxheRuMteVC4ydn8N0FFFg008Q362DndhY3PfACo+/rbeUZ3nFwSRycmW8xyqI3oc2xNfPY645R8dioZOMqJx76A3sCqL5BWcjGCrzSkTmVdAyamvupBxH7UrH30OVmfVfJbw2Ma2EdW0jhaKr/gDX1ZFFpCv2FSrepQKX40TNUbHd/IOGWBMmEURDN5iZMyQHMa49bV8VM8iv0VDFBzE6PmGEf6uLqYu32vQ2qzP3GONlbUln6nxl4MIBXTYo4wSWNpAqCqZ8SQt2FSRn6hp/urACPY/UEJBu4dudUpXt/30+F5zaFs/uw1PCSrsAXVW+4fBnmNSh+MZMwOsuGH4nBErAtzP/R+dRfr3KrRALiNjFQ1J17VufKxjs/CDAmlICOmQFJ7S4+WHOTZ+ByAhy/Lf3dBQePsSLK7g/KitR4sjCgRIEeK9EmZc19tijOGHwx/QuWBMh0VVF+V6XJEy7CD46XsHlWGPZIMvQRdDiteREw2Dz0Nw/QWwZDOCpYbTa8PboGfPQeJNsfNwPCdCe6QuktwZvLwPC2YWX1niW1tP9fKyd1PO2XiSOGBLopHQe69iPfliwQD+28jjDW45a1XfHfG2mXkTe5KQG/f3gIO3ZxqnjBEL+tojAcO8XP/QIG1rrFywA9OpGQVudW5Ud+dNsqWv7xcCZAwKJ5949p5MFD/8HYRXvvvHgJcgsq3DztlkfLq6TnQVvGvmewk7IfbfB2SpRJsxydd2oopW/OHk3sqomcl9m0+/JC01XBnxAJxfYlFxkB1VasFZE4wOvHYKwk239W7neY7HsQAQsRL4BlWeXVynhiCnPppJffPZct3vYJZHpnzGOPMkhOUhPqBKmLsvSJTid9udXwQD2QjlziWJIaBCPWSEJ6FPnFn7sXX5rhvm5Ta0zDAIYB/Q2CIl093KQhYuxWbXv4IeCo1fWw5eoZ8oe+D4GhZ8exmvpDvkGwgIkByICMVq0je/PJF0rQXUnXqChnbngO2NAH6Nwt7vHFlKi8ygjY5Bi60FgGgZlP5ilJd1F/kUkopgz7OJKvNZkvG8jLfQ0OaEfEk08S/mdcBIFOk7wBPRNkePDr/CQtSZ+ORCGdphSVtqMI4ymgPvFsX6GrjY1KBuHCzzuhedygoSCHSEWtrhptB+y8ia0fk5dUTa+SVc/Hd5Lu1tVBB4MeqVzyv3NKO4vAxW5121pPywn9kaQ9J4u4lGzo59JE4TVjbmFoW3I7E/Bo0YTYSeuGPt/7v7xyQL+ee2XJRiIbSt1m/oTaWlokIJjSUf8X1yrChmS2cgJ5tLF5/+3v4EgBFueGfqhZLEZYMeE94l1QBgWgfZbmPHRnOqkvqhomQL+/7lIsFLKFyzfu/SeLqwGT93FujKtH32JE/3Ou4QUZOeju+PtoPqJaFzXBuAWrPFeG0MXmPkdRnzthV1keIWpwmdFmnCs0VcbX1A/i8XdoksGg0w1OjhDt+JxH2b//pJidpQzGmmKajwOxWcbx79o0lLZdJeOC1KGOxtNsbozgkte7BhGM3wE+voxVs3IG5g539XprPcV974P698ZJRyb0lyleIkqGVB/CF0nVUUr7QmmZynCrMXxYR5KPWGd23+qGLvSj3BO/F+W+mDterrA2pdaZKJjCV/YukpLs02phIavp+QA6PmGrngx9QVdf6WtRyEomHz9Ma6MqPcdfgGG6GTdtVQESIfNId3lBjVxMBBkCuSL3LGxiHcNVh+K9FaUvym4xrluVo1KPaxyzMQGMYHcokzsP9JWnqb4zZSwmkK89+wUU3G4P2eEk9E7DDC1C5Ij7c9KoBN/awh/IVQ2KIipeEZvd1vj/i9cXDOAOq+mBuBmEPORE42647gJvpo8V68yzIrpr3bONl1pDU5q77zIeam8hzue8jMkIISAsg09cKxEpVUU4UCuI64v7IcDLA4W0Hk8AidKrSxn5g7u7jA9piXAe6ZEmEENjYQrpYgDZqZ9Jnh4m8dmgZOsp0aIFhMDQjEeI56+70uxD4SNFWtN8jSjYINwq2/eH0B1DZKtyD4qKvXG/yRcLHreqa/FvlxWg9eHqM5HMX9ZVPwhq1JnDlMq9liIUostaPW4cRIBRqOu5tsW3o8siBkgReVdUi/MpaW8ANS5QWiEGH+8CYhgCgaw4gzG29wDnOgMfy/4+wDEtBU1/N2Ho/8jbgWBT8cLcFGMtuANkrB2sgg9IGMGrPecvhOdB4Ml2JesuT2u/cLCtccwjRFsspww5dVg+jWMbAhJoqlLmCNXoF78tHmbXTo+PrvDk3k2FB4Y4S11neeu5kZ9DjQ6blNKrwp43/M9M6XaQsK6Jfz4CFkS8DbPRtnqqzbmYzHuXAZty4sNqvk72h4JLueMfKwI3TYVaGkNkdrIbfwXoSCNM04FgGKESHL1URbkloUrmsXUv4J/D+q/sykjJFtogMLp65YT7VEHWEExoAHTJ47p66zzWjBunyNdotcQ0n635j8XEFKNxKjjjqjDmW56rWqpx4bYJRsFnOXZFbgvTHx671nTJ1gIy5qjybDGmzhmzbYCgyOnCNwsXAGV2r8Amw4FyQKTAQYYAGeyr7uWH4WPZ2FN1s6MEy9XTFxMSsy2Zf9FcEoc/744Dhk+KGi55cEwxtw1eJ35hLQcV66pZ7R/yzur6afqdbV0mIyR9nvU4RbiV30BGKfu+rdVJiEjPDE1zNbGVR043BK20Mla23nHjOqz14d38JMno75xoH9EAeho6qAfNQZZXyxqoZTQuLPZ28Xc68B8Hz8suQYtphey1a8Hf0M7fppo8u2DcB8XCu1FgQlEcongIy229hBCvk/yc/A3I5jfvkhd/vLohELyQZVBpYZGrB6ngg5rC3MZDvusU4Tf6eR2ILN57rOfbRiEnXxEvakUgZ6nvKGGSn2yZbKv/moFUIlXvmWg94O4BUE2Xx/EgYg4+3bD5M6XwYov52yqxnO6p8ghC4cjAwCccEt0AbmmSxSTGzRQ2Y17BowU6fWkme1J+XeTwB/UkSHsR4eInRvvtD2UkQZOrI4Ru367QlSn4MfIAfK+qBur9ohfyA2bPgn2iDmrRCsTfxEsQqazNfkXRQtigqMIQoC1bka5KMGS/UrIbE59rS+WRHRCiD2UIgFMkGraPFFcHyoPr3Qy9QnJ2HG/jfqT2dSW2cDy8BqaXmnCQWmma/vYaVISGJcW0yR3qsc/ska5q9jbd5tKwPDuXwiDd1LAO5BSFU4TZxIUACNT7Jo67AA3Dg2q8HdMspFeA9Xo4icWvj/eBw6P/TeA10SgYszYIAm5oATrYt/ilj0rPVykdhnZnLmxtasrLkDCYwzK1BnfbLd53QkWJXQT3Hssk2IYl8G2Eh1113GWIlSfZf+v59bkP8j/RT9Wz7806gRAPgsItbT8KJzzqcTBFWgwkx1dVJ73PXlHyU90MeWmFTYluf4ZGYfXbBlWHNqa1mtinfAuQmXppBpE9X1zR4vI7JHUbZrZCqoZd0pSdPjlPm+amHwNlfhTZYnbV0l05ZM3ikqOonvyh5cZ/zTd8K9cOJCIlrzN91ZAFam8vag8cNwoBKMwB2hO9bJgHvhQCnNrR1pNplI6YhWUEo2yCN75D7XbioZg86MV1plIPrZ9IJzpkFBj6sMbKGhmzJbsytkQg8L0PryRtfa/sKQBaybYTD0Y3+niZpw7uzVi69rn0HhXOKUw0zyQmKjfitThMkTcWj5k5t7JRxRvDcDtcrDeCmzZQ5yXxWLvgBUwVgqSdwCvA0zzczx3BMfSpLASk/84g0aqCjtJWERD/LpwO31cu94/KGTqCte3R3e0aI8c4bfLE7S3oJfss+omnzIN2bC2jQw1PyLNbFzOYInmVjZJsBcwkKLL2Hx8sKyUMA8Ny+5Lrd4f8qeBPaVrJI7rVpHrHBHWB0pMfwy8aV9KeCImirXpHxVOGRFK3BywSsh+cKYBzEEuVWF7wVbUlS72cyQofGeuHfftBTt1f6VKLuPj9SyCIxAk2bgG328+eZjzJsIbjE0FkaLNz/4wThuRiZL/5BZolePPuqbAmv6q18nN927rBknVzXWuorcIVMZdgYNWJ4boB+jwOlE333pU32IVzydl1AqTjGrYeiHG4uMqeTntwxWJ8sJVNMtxJbcLkQUjprkAEqWqWvHj1fH8cdWqx22G+AF7CXOi/vmAgSPzk6w/ylwAhbxJbz1N+Nhs11VogzoB/YD4CqYBnSe+ZC8bTT/SsQcoTOVqw+EbESjDf6bBWAu+F+vg5Y6BWGbM/tGAMbOfvAPF9cN6d6gyLOtWjZFlvf1cnooFy5jWbPNz48xCixZ4ZD8r+o/UbZ/81E2RsLCh8wAmFV95NjEA9dvgdoQq0c/QCN3ciIEYgJvMByDkkpHxhaAFKKNkvzQ62UGFno+L3iDHE+GLkGRex2wOVJo0JRFAqoLQTOC7LND8HAeJKdKUi9Kt7WIIIbNnrOsjBjY9oTg+xhqmtLKEPJXaTbLJ7I6tcceOkEwZW2tUqDnqhaScLaezibnN7V0zBBzMM75xbWFAqhccLcJaQfnYhVyqJIy4rS4iEIV9CtCiH217a4PLIgk+UANE6n3rAIjGCWkCU2kh5VOliJ86H7kDGwmRJ8lWMYs1/Jf/AAKDSeSTCouE+9uE8DS2ZzE0beI9+U0B0MGrlaJqxY2ue04P5hloB7IJlUJYHyTbRLJ44IThuUyiQ9uiwNwzUJG8JK7Fd34h4xkxYA5+1E+nhCcjdI2Q3AD960qyC+RMfusQsE/2nvqy+X8KHScgOA6GCo9KrFdN6SHkaRVmEPD99RxflECGnehDkafAkZakIZr9FlduQHNjn8Htut4rH6dujhvsy+p0/Q0LyBcA1deWBvMAa4bsrpY+WvgHt9JPcpwH95QlWANhhwH/NcFn2wGTCkUSq1SO0Pw3DlDWKku5mz8YTzEsZlbHp9GqqAAgDklrRUkfrWzeLiNwyL1oFZ74P4CcuBGSFXw0a1ecQI01JaEBTwq1X6N7b9aSdx0987LjndzF0cDKitrGT5Q6WiLd/400JutDwV/C2+itbBSJqWN0+gIprRCXHrS0Q0yCEULDSQzCsHd+4UUnUiuuRoThp0zLT0ZYx3Ti49YElQ4VliSVLYo8HBipXIWr7gmX8jU/azIpJiQSqEsD7dcPVEWyFs+JRdPpCMZ8WFRfCgXIMAZ3SXE/rSSPhQ4mlQT0D1BsNm+iXnhxar0OhiSHeTmyHR5zldRGPUyW7bqn2STlw2SI2hTCtPdI3hFy1yqTmAiYPgha73e1hPySxhQlDT8EaozboBjoUbAdT8rihtRrFhSH+B+cM/bujz+Qk80KAaUfQTVxkRBt85WVsX4Hjr3136i6bqt8PdTrAPpVMKr4T8akTlDg+YbWE1F3Zzf4VNGn+7R5yIEAz7cr7lH/Q4B+ImzP8JI7bgJXsLn9Df32AQgkkHNV56Xg1fYU+/VPg4DS1YR4f4jgJyBhQ6PI3O90wnSBL/QqTevVBcWlgKoF5Ac6KDTk1isjKUAxDuZFfi0ZFnguFJR+YIZnTphXPr2x1kPpc6hkgU8IHoCdtqsits3ns3mCE0a1VcRC3ezISUb190u3EA62bJR8IamRL3gqkeDm8COUyY2IlNoWKXRrL5ogXS9MwE3IvOieA7STpCAdiJq0fz6sOc8o4Pw6UovpRIiwTQkAuzYc0mT/vyv06Yh0fj7DJ38UNoOFj7s9sYf0M+uDrll7E6l265VceOyji9/bc10yGTBT9rjyr3zOu9FmlhOD7RZNUmFfk/byrKbRzyqo2IGjc3veeAzPMTA4ia3TAnFrtyCgNfjuy9oFUIltQ92hXZeIsv7eQnVkcIo9M09oF05bF25JmVjU/YGqomYlWOXPbfBK1IWB4B0VuaQhtEnJf/WrLqaZoiQiwHeCAwrfp/LpDobrTDK2jEkZS7duOLTztIXxFG/GY9aJk6PRku0T9n72INTJsumwfL3BGqwcCyN66MkgpYN753dR7PBs6uoBEe6an5FJhYDBVJmo3XMN+26UL+22z1RHdHPGXPoQP3nq/RwGSb3mHxkj9QPRUXBGScwHIBffXm+SB5r2dLcW6Lzo0vF/89Ofr5ET9YPaeeNNt24nWcHBNMBdzAbfAXUk7rXL/+qFxOhw6LLZlH9MvxDVIl2VtAl6Kb80tisHdGotThZ53QZPNllmf43AtX0plA0CooC9nkWSsccL2YpADKzwLL+yafeg/8Midmv7CKtKG4BtdEj/Qh+fSLiyQznWUG6BAm2IMjLISYB/3Tx9Xwuw/rhhALevGmgOVTUdldpAfPISfjmGJ5iJqT0yxWvDBS+J4GBzDdhKrh7PmyQZ5SrTRydLTvaM5vx7DTnjyxcFx9ZUMrzyKhinqmgi8CDYAzF2yrRUelPBP5jLc2ERWnqYtiMlyDZkw8RDRd88gbE1oBYVtNLqjk7L6tuok73uyvTOXcH/y6eEENbgUoOOdTtfrLW8poxmJHiuzi1/EvQk6q0s5fJZ5AGr1uK8eafbnd3Q8jCHWBC95hAyOm3yhdkKx52xqaQoaZ0GDABQhYaZDhL0+Z5+bDlLFUggUBonLMUg7OGrJm4BTtaGoJc7hip2hd+LTHAPNNj0vpxxeXG8YLTw6dXCpgVxJGkSGI5YW7yLK7+xqBTDhRyxU9nK293vEXOhUXKXoF0nTYNgkjvwNCIa8oRsCxY6yCezPSK2HfwMHpwsBj5uSjlQ/MUz1Dkhc23O3uqJISTNwANQ9vH6myY7ik/NYNpnI3xSDzhr8+oOQaXrNcY5gY68YYB0xBB5K7tBc2aRIeumJIF8lHZZqt/gd8wsPfM3Woh9v6HaMBEfpEhXvlXY/WDycaxJMFbNtyN8urpZWs3L+DX7r+JYtqSItpltaukqK1j6PfcndePpoVY9qULWEp/yPVnxUNWFQxgMev8xnBdQ2a+wqr3M8gLEFHy6fxKPAvZdWeTe4UpFmBtOdbxal/Sz+CIBETh73dodbRDM3EwW4xcd1lAy3GphfmHAZBBVKrcjWB1IYuGuL1epIqvKZ9mOt67W2t6WNyBMU15FItoslow5BT14zO2lxoqChfNDESId6S+FICdtGsyxqNBUP6aj9aoXgXJir9QJxfmOfgT5c9XPcNO9wpCpLv8yz0FiQG8q4kl7tpWUUGGhes2pcFUGf7IvWetc0CRO8sRoYWjKYLG9lYZ2YHHiYyBG3Wtia9CHJNX7X33gJo9IQNuABw2SsVl7a3PNIDdNM6nnl9r7JyzYrBZ3g/0aCTRu/gtWTlGYsbRXhRNGwQTsEvKzBZXstWYcPrPQdfFdwysZf/O5wUCwyW2WkKOlZWOjO9tg6m7bACl7CAV75vMei/+R1jO7vrO4ifLfbwrY6i/JFzH5Uh6RD0Pn1dxxeNBlg2Jd4P8e7Sg8VhIu5iM5LwAZRJDU9TTkheitGHoMEcPapGT3KEyWdkVwgGo5CVfZXXJWKSG2tV15+YC2llFrqHDZpNM1QmVusgjoqfrw18Y5bdsQuLDR5J+8COPt7EccFGd2BETKZhEdhqZ4WHXdrEqol9mdNMCnKioR8sDVGNOdbxajmcc2hEGW04twnI6nkxNRdoHH0xz1haJ4YG2vx7tLxMIpXrpfnMXxt+6zhBpM5vlx/pthrRuhX0KGsShEOcBbw5LKf3teiSI0vm4R/APWl8ez0lD1AhMrcN/RSEcKXu4gPfscRykylg10Sj2wIQl4vQ5G4W5MiGXJWfSm0nqfa+gJwRh2EniwTFH4WPGNzH5aFQjNbw4vzp8Ucrrb06X3ULy9S/nNnz45Ppd5KcTbK4y10+jEz+RwRDEIFc60xJNkfnlcRrKFmS/mc13SVrPi8gvxjzUWyiu5U3cIQ5ong7w0xP9NWanSUL0ZcKNv2LHX5AHi4E853uYIO52ShgvEZtMjXm41c3KunwIqdapGJIbSIAPZWGJG+n+IrYAHJzk4fMenGelTXV8F/F137Kah1sf57r29QH6n1qyBxtVX/dzSxXwc5fxsHLqKugQhvi8zP2GPaS06neG5NP/PuXuxFUUUFGS2lKUwSQI8/GyxQQnxPberrZdpVtfFUFImeFfyHUwS+B65xsSLfsiAI9+UV4OHKCfk6xjWUynQ/SGasiuXU6efipocFsLQJ9g5lXqnxEFc+ME93wzqLMrxeXzpla8irNaRXN21qQjfsPYcslAwBhWlmPVLpA7vZn2zXcbqQt9M3IqGOP2roWMtBmza1TRjCu8W7xi3TtEAOHYrDN+jXRQwInh0K3PFcUAV/7G+nJzH8Uv6mNpJt/4MsV0qTg4ujET1AGZKZxzhkvUCqvT6XSeuLKvnzDVDlb5UP9totSe2kSdWtidH2Uam0luRKQJwppJb4+Ci1UOASN2BycdDdjt9W32vVdpnmSxkfz0JHOU3bgIdrftYnfdlGk8uOSGuaWp1aI1bPPrkoRgOyCqmrOMKY25N3C2TS37ty1gAk64+OWODAZHLEkbrQi0td/f8U+E3qke6OGYF8gen6j4qBIFbqvaONspscxCEv/OpZxsVVKSQ+eYyYpkfPovjLlZFBmjbSXq2G8GpuxutA3eHI1fCLjQY7K72+w7Bgwnp18DaGtEKlL9eJspQuiZI3U3uMgLeEznvlO6qWYDCt3FIiW7k/8V3dsGIb8CZCVbsoYy/N8bKkEgS3s5nwJ9Ps2VUdEQjS6Ppnt/vAidlI8qspWmG65fRPiSgDtLqA9BpjEQWy6rtc6uID6UiQhe/Eho+BnDPsDAOQl4yBtwVLcL7Lp7I2h8IczCUoyPPNJ5IObhuucpm3rlrVYixUhkHAST6Wht2dSkTltAy4UYxKaFvXZ8S5T0I9qjxQ+osgYrMEnzlzI/I+m6PPy8JPgCJXtEvwwJQZ8kGsvvuLw2jmJJReW7joyVw6AFml+nKIER6aPFBM8IayOW0hhdNw/gYk6YYMs1GmBrFy1PR8/ib696nZnu2JQtOhD/BRrn4w8e1EEMRjGi9UoDXEAHqq4YLZVnDrAes3F5qu6DG6qtZtt/joIcNPYXVJGkfPCAe5iZpKmPxlx+IyYoP2TJMqNA30Y4Awk3OPXcD0a+17RoCIw5zBV7Kx/AvvjeqKkHYUUoPCfK14UeIoYhZJjrmlSgUyBwr57E3bjdUOhYZDaA4Nl29dmARwzykm+ilkrm1xsVvgCsIi01cBOq9r5hl4VPmquFx+RDgzA6Y71k+3RS32N+4QRXFSBXEF3q+u49d71JSILuM6+yzYVBTa7w2oWaWDVs/mCdxP408xOG80Zhwv2LZ7FPoFX8QA0X8ak7L1rHvmvcgXKkTBUaan6y2Ql4DfE13Y7ZJehd2Y0JhUjjxsoOTgZUf5DQqCJSRoveGABiCWhKnCW9GqFuR7h7EpFlZJ/B+ouEX+zccozZPm6CBDsFHDO0cZyEPaxgL0mFMWUwD7NWnAHhobjOkX7QqoN45R2/+1c0sZlpY9zrlm1yu3Os0oRYJU9JAUewTa4gmv6FCOFFr/thhD7ijOiVLF5UJXzxFcpfw1arjFH571jKKwtOWR5UV5tehzxtLXRa8bOSWMBp4TwuWpDkpTTrpVTKHvkuPUt0ps/GR0A/pP1afbpfuY4S+02EsBkar4R1bdZOkIbDxtuuaxVv5E9tTrAdLGO+mdnAiBtBPYkCmNZncxTtiFONaCJExgdYNkD/q+ASnJIr4wu8p3n3oHdNdTH/C+ht5M0dro/ahgMt0dxYiLVQ/+06gnEToBDqfH5Swzzv/ottSz/IO7/K42FDa9WtN1uFWZ746E/zWk5tLxZaFRoo7jDvcuHqA1m/Zm9QAo/u33z/cKXT1KFW7rsf3HtMDAD3OaWcmw4anAWKei4tUTZRV6QWVnBWi/h447qmVggLhWCVIctYwPhhIDnVmuRQFyy4dX9ZP8darzMnpmShouuA6jjPnRUtQeD9/JymJX17dgwrU8tEr4JyJ4Gawej1vAmOKzd+Gse/PIwmr3WIhOezULvjvJB9Ay3G2Jb4nFCkmXcZlopv8jBFvvTv76L/VxkFimRh48mjQjV/4rAQGWTa53jWf31Ep3gB4nVxxlXH68bx4XXu1P8GNYGxyyi9ljcQ8a/FU2qy7rBuDTLZtfnWvwn6V+gHwbneuh2VLa2mWhjAa1rcXoGd5vCaIt4kFgJT0ezebNcQZAzcAWvVqfG3andGmsiikeNH8IwEQwr1QdzxbqskeuWC+bH26ojYyqO6MmxNRKB0eFDPjyn1mDNd0BFuGRPzkLWgQWRT0JetUJkIwFQB+7CBi6r9jyI/0Bxu4IH/T56Eoe9i/9sypwdObe6nlGlbPnc0BlRBGTqmwcFCqd4u5Jwpbs9yFExTYfZjHadfLkg4ZBqybPfGXmqoPRWp97hy35Tcwe1GBkt1S2A0gXaBB3CLpyVhJrDlAvURvTOL+5aJt7cFz8i733J+XiEBMl5VmQmUWFsSmKMzXkNze+/7we54r6qnY8/PGknV9oVqTh7iJ4uHN1rWiC1jHdfbBfOsbAiuds9Sx59cl//AMx2YJHCNvBndA0lplMbHLSCuS22oIiJemH0RIKGKOBX3Qhenfym02wR4Xlv7NpIQx4KSdxWgJhwtEuwVF7Aj34OQ95TNxOGGJeblmEuldxngX5+A2f4QYWHk0pW+QIgJNRf4Rad6nlhFgXk/kubR7aiQPaj623HfOBwR3jvCNe6GJ4f9A/eaCaDwItgTvHkNSDSFoDnKIRoA2Deyn7daBPTkeXbmM8fpxRQElj4P/Fv//fS1ACgJRKodnULEnDObwJ/klb83NRPmqwGil/X3N/d7AcW1TA0/pRM43J3O3w+sRrvnT+QLiWsS8dbK3RGetW3B1RVDmWimzNgVvkg0SKxSUJTkrnZiUWMcex2PiVOnmWoCi0h7g92Uw8aXCc3byCEiBvWsw4MzuMGoQG9hCgEw5cLajpt1Y7bKZ4lcihtE+MmFRsAjgORPshTAFeDdfxTpA2YRXkkjhbrm/wsQQqcu24zMSBoMocSJnaw0f0S/AWq8fqhIibCGXUXz1PQJHNGaGFKBID9RTx5tri87OgorkE1t4BaQ+FU5JmS8Nh3z82TBFlNzZBibHwmb+xzyY63yB+FZmtGQDXPDJC+nFV5SC4wBSoBt4/Lo9mYXgrUaWRKsaV7+U+nM31WNyuO+wyK1XwOCAISJQJCAFOSsQ/pK4qbyQlf9K4zGLeimAihCbGZA1xqotdXEKc3oC2CkjhoWG02ILMWkxY7c+LYEFhQfAhFMTXdNu6uWwO1H4JPA7bS6MH68p7XFCen+8CZrYlMBqu4o0V2UDtW8LFEQFE0cR8RobHgeLhDwrYMFULy/LNg5zxbesF5Yp/blHncN6sV1xkDL+bJ51j21lOdTTs+k8jTfBseCAsvLXGvfEs1Lp1g01iJIV3DsqrrnI7BHAw1vj7PRLYekk4QuOIj4uaUXyNrAGAxnW5OKD9TB/gH9GE+a4J+XZUMgWgHiAxsZLdXJ9eYt3B7ZAlxuFDzaxDi8uUNv2dZBqivzy7ut5bhM4PG0WVRHPQsgeXlDReTLWcUrjHnt48gu0oTkmz9eg9EfyCYpkPXHYVA3I/HuOTK0zgXQJmgstkob46AlZ25HOEeW8VarCbQzgsD0mlJoVN9PNHlAVt85M4Bfg+Ud86jgsgFnfWmwCDzgimpVt3aerKVBr9u42l3ekWWTJ/JAep5+v3eUuMQBGZvOuN8x2YN0jaOB8wbxZ1PGH7pWYxD4lo1+LmUVbqp0ROu3985a1mgWFK9dmg9NhlREhmIJCNpdoTZVCUezMk4XB8s3FsusVMWN1LU1W0zoymFDp9TxuT1scH6TtLLskmUZ6B515jQI2cUYgkb2QWUMOy8Y86vJK5ZW0JegvQfbpGk0eKNwPjS2exGkg2ukXNdm2zO8KLD+nekwfsaeHPQyPY+Z9fbHM9ceuc0h06KIuat8EC3C5xGySNLx6nSY4b72YvZDAnrd8cHJaJIAaHQnxFU46dSQRAFqBOn+5zyTJF8v28fBmdVZMFv5ZFuUX7MnYEDU3PyDaq9IjgdhBdjwCBebrurUPaTMMGzvb/wRcJYettvhQeOAkZUTBgfetWlpoRbOUjd1oKwdO8dhnA3Xve55cOO9+1ZHMZvluMqCqEira/IOLDsW4lr4WWDl654vM/DDjw7w5zAe/6TOgkK8RI4gWDYk4Gs6a1Yaw696RJgH/Amcxgaurg2LwGMezjuYy9gcq8Jpz63lwGqxzIC0ZUZDVHsQGypPEtC4G8g8cY/NBNbL18DJ+IhdZ7CeK/aK/oqxohGW9rla8nrioHnCEJ1+vGnfFQ4QjExl95ptWuQhzYOYaKrBg34OcQ26K7uCde9IypcspMNFWuGzBMqZ/wB+KfGIVQgOiwQc9xqIJ/kbPzYnLTtAKY/nN88eI19yHgJ90THzH14Ib1MqaXLS4tf3e4OCjj8uO50bEV+lqbBUSzf+qdfvfc0W101aFsM4lwM062oFeilLxJjvNNk2LrtB7ePvi+K1Z7ZPX0QeEWo31KkBUqvGgX5yleYsCNmgY583sdlhIYB33/umBz7w3MNn3WYUo9AzpFYViRabGhSwZS3KDAGTRCzfU7VJDHtq19SSTHicULKVsWKONCtK5kOZu85xaQtRqnRneaUk+yyUhZwLzL1D8IGB6AckOyPoUcYSdjVmI3555lB8zi/Zj9G0WpoDer/QqCdcq/jZu0AKTQENlLlY3z8jF+Vw29J4VElJkjn5di4r6yqbE2lU+wiCY8RZmw/6y8t2JEpi47YetaUI+Uq1Zc4e8s4dfpOWn4gnuUVDZpeAIg2OMhPJoK0guuo+2VcRL84ixzJfAgvUoLa98qfal/OZxxa//iNeikVvg8lBonJOTsOTuVF0wxbLk0Vct/3CyQWdBMeI769PCWPjPIWCbW1h5Ignl+iDSsVg6GNCNj/2mFKUFq5gqgV6aLVHo+8GPBvCw3HUThwxU2oyGUTmsCvz+dmcAyhOGJ4x8pHKKnsx5h10CQIm+3++bz94bYl7ifRyeZP7Re//69/Cs/H67imzrwvfWJprqiOzCve0BvmhR/bQzKzO0pWv/f/avPQT5ZOoIVICzClOgkv+vxllBnmzzqWtd52QEOtw+zzXzENjD5usBPo9A1hmiojvsBbL0xZBzXGYVEO9lHT/0DSRG4G/hidSzKfduUu6t4hhnqJ4u2imbiIAjuRZkeNyCdyj9QEJ+bgVZt9O/ktHXcXD0k/R9Zk/XmrlFDZODesiwSDKP3v3H9PRVsHUG08p44qiFx7cY5yHTJJFiRViEjP0P1R8erSWQwHHT11pcwybu1fp38GHJ79KUBwHfLAajgJhF8SJNSHxnkcy+R3obLX59tfknU+eAVIKBJ6nbNRLM3CUytDm0egmVfyU5vDOyAs1/AGjhRr7e37pb9XDoQ+oyU1+nupdegtsQWoUCreMMs+TOBj2cfPnxQMq0RdgNvSK0YexaJCU94yA99Wl/8yfG21u3PtNWk6i99Jtgd7DpOzBXjYvcadMMHAHbxpxtJJE//UEBFuOgm4UMs9ox+speCyIUescay0ITuu3NHGdDQSYfIQ2lN7ReS8c8t2j+iVYRJSCnUW2JNICDccETELO99lwB0bgwxTjdjiIU7R2qB2v1pOtyLGpb2wePCVdFx0qXpSflbi0Fl2FPLWjjB6DTwGgiiQW+fVSADwuu8xw8f/tOnpHAQTbUt/OX4H6Ofg1fK/IS1dc5iF7Ktuk8G8zPlx6jRGgdxXvX8DeUHpg3jJPvVtFdXoU4zorrM7OccGYH9zt66IFrjn9EXrLRr4WN7R/jo4FOY2/QK1Pdx+zU5EgxVi8ZpLPypWw1eqfPBYqPx2uyiR2UqeLZJ5K/ujBUY8s7hVSKETe9v+SpP+LmUm6i2KrhoMpf2Ryg7RnX+lbNGhi4PcxXFJBCAPlqQq78L0yViCpXYXwqQKzxxaza6suuk+AkOCBGCG+RSNr8mBJOc8Al0VL4MVSmKDZSetn8Zn7A4eQiEJuVw+SQBrOz8lK/TP+keKBfW4QdCsK2NDsMN62gN5yJkcFO1LHY6cAAGOXmMNE0zvTdyPhOpehLYJZA8WjrMD0uksXcY8h9ZTIaTKbvU87Kf02c+Ylj/zxmEH6ROL1ty2v159ukDwwd4iL9mcVQj+At4P0WSjl4ZehYuBICJzR0SCMlKdT5fKIe5ON3BHZG7majTlK6U3J62LvbiW1FwxJiU9qBAAG34yLx+RTRjlSXoIX5hUmKHiq48XNIMIuGThQ7DoMECyc0AC5u/4PNsF87KnCQGmruMXPm5IV9ZhmmwvbY7ND0i6CnGH7/bZYiOyKiYQUWFn+v7HusLRL/97c1NIznYS1WK9X2FA15DhpXW9R+dBJSK47jg4pqLk08CWcBfPEH9M2yCg0Cw9SCfe8BN8gQo5WtdYuUh2bNExDCVmYm9muXRMeU7avFHOuiGxxi0NVIWUVfYj8TQ6AWybBdZDmo8+E3BJ6f4ekKrk5sXtV1Kyt5YEl/H7HhPuK9DrOsreBSb57WELBMn3pBaJJH6armMB9PPeBePyK1VfegC9UVbyktzeDc4KYVB7rxJAi3Si6Ukl0/w4gHG8zlSJ6Oqq2RRVXk7PuqKQQ+guJ8+I+ZZJL38ehjiUYA6NIOHmq1NRwiMJ1pF2E866rhnq+xyYK9JUZYSojf5De/Xw0+5B59X5TxpuhH7aGqv/xw5lZKtZ4ZddfDIzZjFrRFrngNMpQV8LCQQ5Y3McZW+kwprQSovMY5jeW6HsgjSZf/eXmQ1qUpVO5yzcrRKNECPQitW/G+UlSJwwlrrtmCLSiZMCy2cqP6sXvmgg4Isu/eXnYJpOjGvgiUbwynfHNx7jbA6GKLNOvC28ZIvdkPp5dDcUrSy1XSKjAltTKt9r+IMkzEz6BGu9A6pENv6EcuakCWiEMEPqTFf1ibkm5olz8o2eEcWrRu6hOxPqmQBphzWi3NVSYepTF4lTdKSRO4XJh2AgAAIfvgFsekr7ZyRex87NGmlHtU35b1aOVuu0OsC7XFL37y7hcluPVDNCQ4q3FA30EtNE5BF3oZ1m12WkTTL18zdVYbtx2OIKtRCWpCsVMDJzyeTrDQjc671YW/ebvSPj0C5kXF9Pvi+ODukc65slsTgz2JQsXKLTwmtwlc1NIeqKOUgkIVWOp7IX/oMC/oSRazmDz5nKwfZYS9NY/CjeCuZSSOFbCtRSm4QYkwQnxrWbec6H1NuNv7wO0pD+UVhajXPE+D8BwEZu2t41KXl4L8EiN9biPVACUrcJZk7Xb44RgHha21KQUfwxx6kaHZ0SqJ5cBMy1/d+orDzpHVmVpcvXTPIJLBxEsjewjIv1mzNjHzACv6bVuOPUYO34j8LS+wSPWzGXroy0b3H9YkpCSnxX51M7itox54QBUMdcuRNxgiFHmH2UTjpjD7KzlBwixQamJXEPdAFmmnSmANsBCD4iM7EuJhqntEJswVrVNR5zJLtRNIgIlNH8l7YZVfay+pBytTB718+GcVoWKVYhX3o7coiYmfVe6JYeowuxWdZfCvYl/HyiAhsJhq+KvtSV4HRkTAutSavqB2WGjUgGXW6OpLFFRQQiSASWvvAW8KgYXpxDygewm3I9wa9iVfD/gzTZvjqncEIw8uAHsYaV8+OipCYIqsnlS1IDXLZY2a8KyjR88Lr6396FYOpMqarlwi2xY+JF4AGU/BLSEKS+lwkZbfSTFr4jGFNfBlrhf8uCEfFh5GF9EMI7dkW3gtSaIZ8duZh+PhY7Wi5UyED9NPDE/ahw/CE3dHDJOFHOSVPR8A01Zpdysaca4AMMM2aO56EYHcPzD480VTyAsHxRAk9QodnOiZzdCLdbX21dR7vrCXkEazE2aaj2zWTSx81U8QkpdzTwL1DbsKNwXe5w8lxsEBEw6eiHKEV085eiJ1F3I+Ojd0D/MVCOGAWCGWbDi7AueK3FJUJgXnmKGx7nz/5y+87nKarM9TuJdGSL8dbJXVuAaBmqqPVVqGk0NcWe6oRQjMZXJxB75x25KX73CLpEsZnL14UZ8lYaHnqXiUVT/exuCZvzEdUZn3Uwj6+SrYRcSDeIJrKTcTR49aghim4Qb7VT2t6XOPX98j4xhQS07tw6gjWV3G8bHdMu+NrCe4YhijV/rJa13XlgToQNW70YFYZZp6jQnAOYalAPk44AA94KglqG2td96mACzUprWICYqrPSYjfQY0RP///Z7sND6sS91mN/ep2p5rlyrk+tVOvlniywGsg9Fa8HfpoMjZyjwFSogTS5mJZ2pCUvXv3BnFp5NWAPyZu48qMkGFyFiPjyPi4bQx0LPKeYCQegKh6OtywHcPrQc1a5ZF7DkFPGeNVgthAIXWxaXILLQn1t+TOAb6FmOTbeajuY+qwKtJ3JkLCYWZXv5JXEVGbzHQ23ctiMoh/aL2uHiz78IYBh++jvCufKrYUUm462uMX/TfLyfs306N5U6wHGXocQju+TjF6llxgTBnxbJMd691Cy7nYC1GS7hFpM/V3UflrVdK7UVltI032O4jcapDzQ65cgxgzH2scRgbYtsaMLixvy8B/wBMwO4N6Ic4M6ZZHDzKYUHESL0+c94FdlLMPvGjmSqBrCAPBnCaUJkBF5y9FqnWO7LWW2H7gUSEDz5pNjELMAKXfddw4Fm16aN9gRUOaPJtdOV4R+EP5Gc4fZ2RCWm0wcjUpuemcADe5WrkG8bmxXNGD8t+MjYRewW2JD2jRPAr84V3i1XkzG9XSxkabIbchjDUgoc9z+wVNTJhf1rm7GgZ7CZXsgi6YLyNBZTo/NplCM5lVAqJ2ZpNcfKl3/EB3Md7LvBikwQ5eN+oaTgDDiBHbUrJ9G21D52HvQHoaiN7MZMjrc8/ZTIKqxECd5A9/V9FYgULUeT7p5Gif8+h3TVxB8AM/ijkxFHnKtN1Jc0iPZf4QLMaRHDGiGxiL2oWBW8q1CnFdy7QaOxbqZNJc8T2qCyWVOQD/Ujuo/6IPjk0NJorLvHs9LH5zOmFHb9YEsclawKLvzIBDG1KMENc22fSsTMStooSNlsAQLsy+8kCjayAXCbnpELo3MU1yMEc6XITyNtW0BRvnOcJXLR9NHelRNGv+MqcIl1LPidn0KF1+7VdIS3rmsC7zuUXc6+MKzmx1sCuhZk0pv0jsOOVhbR4Ije8FrUBP+d5oPChIWn/O4NXGK0/ezPcLSLwQUegxoL6fk67Ip19syFLfNIXx0HsW+Qn7aUqb396iRZUygp9goyoDyVPhZ7zWWYnva9XNVyLT/J3C7zm3in/xK9UuWU8TEDRRwM6EgIyCZUhV/f/fIZdD7zk+mi/rzhQ3jL9RkM0Pc7vpSfkWwcLdQ6iaDQ6ffVTz0c5ByzENu+p4iKmbPWJrGM9HzfQe/D3snC7yvDmAcqkoQPRY2yi7vt1SUr39l162zV+x6xpES3py7K+pAhOgskRxf2PeOajReMHVgSAh+s6L7FAUiT2qfJi5KS+yslH/9ZNs7gi1w1RrfziSYMQrfnxIvHxuPWnLAnP0mbOzeEmpnWa1eeUVBsVyn9zdjAujxPb/rJuqPg7GB8w9quNk6w/5w/9kHdTS8QKpJbb85Ms3IH80a7Og7kfAuyXgNoskWGuZNYeaENI5Ijevb58qEuwZWCZAyDDvdwR2UOC7FzLu2VANjVmhsnm0kaZIfZz+59SspGhgnsQeAbmrlErI299jsNFWpKSHBg+jHXAPYW2iEldZk6IfTUF9RToPQzss7ajnfcxT876BKz56wXFN0w/ZR/5gsRS+fWK/ZO5A11aw5dVqiRpV1FsT/+IZnr9db0BOm4b+MwgV5ctvoKuNNEbchg5tR9UiYTIUHFfJyMKJHwNKIYV/n8XVuqfkxsGBGAkpaaHW9AUqce6Yn/lWlBb8p4zpBn+VaXBsN//+j441qHa1tlJONfdcw/jKs4f5XEDfejcTZMeaqeZiDzsdBD32iGwBeF0BJQtYpJhUo8im+CHaZVicKm5lF2MVqywu0F4bCGm7HdxbV5cQJnRQH4vV5w/NcoVlttpqmKKl6gOFP3BDJqOahuDY6RSTQOam4iRWl+d2nYIZG6HUWWMvN3+hYkqpqChCFohca82a9Jt5NDAeZhoZbQX23ssn+sfBACkOIQwEm2pzCcJxZ+7+tJAvnjSZRDc6XklNm6Q18E1cRvAt0Y+hBlrMdCKDZTsimLdF1VfdRvsdgJWRzGrBlWdzSfFWjZgi5Ak2pR08VrfLOzgKX+aL4FguoF+W4v150eerNlWBDgmujjUCR+5QBh5d4s8rg9YtKgILwvZ5ikw4mGUEoctlF53Y07Q4Hv719j9K7fJ9eOgox02xz3tMFqQ50UO370aCLO5qff8P1sMbB6+JBZUmqhzOZqvkEZTBhgsxFEvRVRdJHa6W7PRHWLlhD7xJatnLzEUlrimKbUyiBfx7pWzXoOUtrqX8/e5HCzeKjhUO5RzOB+jxxLKxSKxjAy4qgZWaq6fi0jK7KtA1d/foHNvmNHeXwDUkOfh7k8Av9IMiwuxU18R7epLfyv1m5dg1BoTnQpzD53LI/AXhA8cS+/2lIUHiuqRKappPUbZpMWEDCBqymgvyifGbEMq8EpbJOPhaQFqyO4tUVSyaLtJf9SyZ3q9mYo8rvM3JuyCZGAM5OL88FS2bYkIKpS2x6ohbIHRWZCPjEG13+SSwRkFh8xcKGs/smwBzMowlBoC9/LU+E86X7kXrJ2rmcwjL6mHXUAE+R9xjfXAfBKHwXYGJ72zeB4Jgxdd0Q6K97YK7Rx1XQ1bbqjiRyGOwYHDnPeF+96iYxqWT13uTcVkXt/T2u2eRyTdHjwyOb0foe+vkZh1qEQzCetk4kMk7Qpf/Q7MJaeeuDAvOenxblF8moI/r/MI7PRe3C4a5k389363cC2Svb3HSqTvbdQQ12UukdM1iovmskbZtMrKF7pPNj6vHWL4FlXn5hEdm6Ea22JILHo+c1kCKCAuBH4Ut9E56BDPiSL79enmsapcC2aYVavpLYDYAQVsfhD69sHKq3VoCZzPSVK2oGSWG/rVKuBcgcoUt83Er74Lxf24Hi6pz5yR9djvO7q8aKX6BUZm14GUDPC6KTcu8uvdCRRQtVUUt7zwwkv0BLVAaZ7znQbivUdkEByFYFxX3gOApZ2P4iAJUx+E4lQmccxcF7rvnckeBNnrJiADrmpLTsmJnQui7Gsk2P26F5JqByDiEyhNw+t7lR/JfR5oO/IX3luLFkeymeMK5kv4E2FHCzQ2aR9PUpclJZRfsoz30TStwu6YX5cfRMmoueIn1IraAGUdPNPWaXztS1htQ6Ro1V5jq8sAFBfM9RQfdJhejVEkLzgYD9Pdti1431Mi+57N32wvmwytt9rAOIuyCVyeZ8SMqiBkbubhi5t4QcVVsYsCq1ESdba8pqvZ/R5OSnkt3qM2dcOzCXehfBZ1aB7/FvB00msF0yVxwj3msEbakhJJx6fh2JipBIxvuf4bNo6Y9K8fsL82gilkpyOmd0wQA7H0mcKFrYXgY5Eohsu5cj/T4G4kiqt9n0r6yg+J6RbkcB8nmftkwRS8ecCxKTddS3xmNIktd5jT8ankX1yqNVvLlUpZN+n+qPzUkb46o33NvHiTuCSneKu7uMye5a/WcNQ3bn8r3zhYrz8sgSRiA88ZpLi+0sYqNPRSnQjjo/iGTUvazmNRRsYHawvfwcTrb2qtOXeFvlopEvzMDr4CPzWbSitT30RiPgujRFQ/sW2EPkN97Ur6v73IUQ+NVfeY6u3ItEkfqYllkge2j48RBsQIBQ2blM5y4ZgDubiHVWx4MMl6KRwWFkZieAES1UFnCxOqYAteo4F4U7T2hrW964AujWo0Q13B4WLRBDwctqth4E9TcBgTLO+WRDcaSx44EgK/uE4umn5OEn0j+pnkesMMDC5Q8V0Dj8hhBEeqpY+1uD+rOzBcjvDCaP24fXZhMvkd9WdOUSvr5C5hs2Ljka9sJXdRtkS4HAELWcXc6B3Qut916MPZzn22z2fDnqnBQVMjFUuUJulVnYri9aU1pI8oLHNDEE+DQV4Zt1oAxWdsYWaA8Y0uf150wf2gJnM8Ro/RLFcG5iFlo7LXx+QtUU7S2doVajfDTH7OD6xfgOw+iwxuQnuTOoOjdKE2qzW/eC1/JZx0uROIoqqHI0dYCyavvNp749Vi406xKZqYisY6+QpckfU5e6RA3ab9hVIj3LOwKIlO4vAPk00JZ41STfQn2XU3EUAAPjHJ9a5/dRCkbawpw0uyjKxuXJEoxl1p3YZ6azcBq11X9jj53nct35ZWGPa1qrb6nr+OuDP8ycW3YHKc5x+RILmNIHD7h8UYLt1zS1rq35F4uclBga8HIinZfDBmdLfwsBVEbbUmySf7lfhlKC+C7/23B8v6txYBAXuAf9nMY/LUeUJggJLo1Kr6ak38xhge5CXbY2ZpxrDYhQzgfu74bTB9hok7QASyGE0XVdhCnoOZa3IlKLIKmE2Ew+W1ckoVuQJm5q2uGVa6+4MJEgn7a3s3mTH09mTyTCQ42BtL7WJkiyoxyb/FVu5UtHAbIcg+MtiKpkHN2VIGG+oaNf7Yjit5W5y8cn1OulOk80w7tD8PBk48PvrqkCzkLnQUUHq57G14MFsp+yJnnP1Yqh82oCvFChuQowPKAtAHW4x3/0J9ywlcQ1qySlIMf9LC/fYi/fkrLyHoZgmmo237iyWxFd8iwgSCLgXSNaekezUYea79rKABcW697sXjquiwYBxKqPlZ0a7NNIImegq9XPPW9BPa5XZXI+SC0G5ipxm3uRAJjoS4m69cgpsmMXQUij+p3fiJbultYZJ7vT2FX1QUWLdRxm8q8uuRJeOHKV+MCPEWWfa8Q0YuFsVkiOkl9gSKIwR5Ccz0p9TuFS3IXXrSjz1ToLRXUo+nGzDOhnGevVXe659airK3Of6TCt+DFj2aVu6hHEgbxEkcpi2TjKrGFoSMziEJQ3W9klfd5lT279+V0mGbcQg1m+gcGNsYBije+eZFt89Kx6jNS3CaLcVRfCUvs5qAIv9su6yKqXpGRvHx+adPYRUhcG0WtmF8OBl+O8w3Yy1Uqf/4g5tRL2Pa2xZdj8jzwedXL/Sn6dtLSxEKlqfap1PK+yBprWVbj07K60v7lX0uuhJ7W7VZVLACeAMZL+taKwtYaa0Cob8zZeRhsN1LRBOAUgKolLR0tAfIXOFBfdrZ/pcsrd/EsCmzD2yvpGhZK2qI1++f6lpTiMkf5KuwGkvfrg63kc0eGM7tq4hqL+DQs4uvWcLIM7bex6npo7skzP/yzw81FmgIaLzmUgeV2rmAWspWlRyQsAuPFRCXmsHH33zYg8dK0EJZNPam7Qbk6En/1pZpO1f64X6BtjfKr6tYyCJmMSWiE2LMMVH96gWSWWlZYcYk7h3sd+PQvL5LibE4JRS/6fDoTHzNIjz+DVZPL+J7+RKVO3XGiJX5sEeNhwMQzbCcb5b4nWGjGIs1hxRV12ve4o6Mj17ennb9q+Ubsrx7cy/D9Z8CV/EWY2xyJT37JYZ9D1qRqBt+GNfMg9djzZSHPbxOwtAV46jJ2WQseHavtu9uTVzddZQQ5wfBWGSOxPIoHAioXwkFikCKPFRQO3KDhh2LFCA0QLBzU5bAJPoCBQFSaBvcb8LS+HmdwkKnsTvwAFdbmDc8uAxclRgpEDP2Joued+q/hi2PMNCwEm9h0Nw0128YaGOFsNZ55TuxDO/k2ra2lKwbAU9qKC6mo+JdUxexNHpRkyktZqJNXNJDIsM6cc4E1x364BcIwjebhxXdFEHim2KxiDkAO1oDxUpp+K8O5bhBwrRhSQx6HBppGGM3RSaBWvtJFgGf/ICgVRggYjwuKAGHAsegC9QLUL7qicjRCUl+go7bZIhnD3jHciMCyZsUY0WDOaOiM3tjQqXkeK2G5KXVoysuk7PkuKKycS4dzeoFv5gj6Z1C5VXN3n/4tKfhExebXpAQ5ia8xk4/o9tSJ/W+JHskU/9vgHf/e2cju44TxrPfhV/LeGCakI6oq3qG8PYXTYehM/PFA/NFzcA1Vl7fKAgknY6Ym1Y7EEmv4lEUm5vHr5/ynuzKaAaih/Ln47JY5a22TSHcHxGASb4L5XIzPQhCliR5wVWIxBi/llvPb6YSqcg/8wZKtwHDrJ3II/7GtVjQ5HUsi/rOUNwDNHidHo/lslOylf8qo6gVrStBGi3CQcNWwqv4Yj0q2UR6sCyV2HyacH6/qSxoS8fbeF520BLISw2ScUh6SfV1BGgzP7VT4cytXpMQk0YUh1DH67czCtpqOEejWP4OWlfGvTwztLC9xwWowvE4AFXhgudapy7mEJ3zrjAOfPhI8ObFMKez/0yo1uFfY58lLuRHeuFmFkoBBcfj2gsFV1YNq+VX+3PIEWXylhE8UvF9bQG8CBT+TkiDqCuTaeQ3A1mGGkSKskyBNvO5Hts6ql9ZySZg7CziFAoIlN+3df6P6QKwqEzs8KnU73ZJIHOAXekfDaOjtdEtf7UHlCfEknJfJxI6JfkqhxsSrmpTnHaUOYVjvVJcZoTDwYTjPXpXdvNUHhoKnlaxcxYfakGCFLYrE8dxXjuA931c2gCFt8PPVukXn+AuSsfQOJW1T2nC2rT9d/latIbsIlcpES3dxQ/csl/CQ2J4rYWHWri/yuF2PmQRupmhr40qZdiBccnAZxe2P0SArVLXsphtFbenqPGXT0Rpx8L0wBKv6FJIXl+zgoqLOGDfmXUZC8bmd8mmPCsRvttlwd4qH+oqOmnZhZo/gH/Uyksn3GJ/RT5cd18eNuGqT0e2zmdGWqg58aBW95Nn/NaEcWi7GwYFj0EWnthANNS5ziRyafgulemQZEAG6+TdNfyw0DEz0Czgusk3Nsa7NheLoaV8klz8twlkvoM6aGKboOUsgSW+D2e9zL5tUFCbhPACbTDUdsyeuh9Weg9WEMMVxCE/PIIFFL1nWSwuZzzuOhbFJGGn3BUd0hk6/WjEsqGJUSKefyfjTdzwfWP2cil693McjgQcUqzbbDLCWut46CqJYl8T7qQ3aVVof7WpizwHQ5MsavMK+IHGH32kHSTU6idoy54FjVuOdvRZYrEfQbkngIq9kg0Apw78made0e2+hRURzxflO6PVvVF828nUVTmfsn2N6d2En24j8ju7YnmsGVSPLWjuCjdew/by+2CuSKAjYGaqdDPAKuKishrslicouU7dGiEfYYDeDw0uAsXTuYg6Vsk5AJzmUWKW4TZwNhFxzylWcQHbqE9ODK1s0//w8aZEQt9YG6mUSUFDUvnilzXwieyi4rT9VCOw68HvS1j86sksqG9IC8TDU079r6loHJSR7NtX0rUB1RKO+NDZP/+SvySjIWghJ1m7TWnRVQjZ8REqh6hZc7KjdyhOo0FnjlgPlJXfwG5JlWAIC7mGM09MhD+lsRmpMy0hdCVoP/BjQWlhcClaKsldy1YlSuKY9KREHGuLTZvaKbIz/uKrHjuwU1wC/RmHftDzICy5FaXWTFVbkDY547yyCH3hOTLFGUcuBMxBYJka43zAF9O+IQR5Doizv4pASVp1Dd0hYszLqnYn6JMFHAY/8SBVYSW0p3sGdrWJFNg4q2e/yMXbNOVDAHR90pRhxd4UEwht2RadxVTZz2Lw2Zh7u6uQMYTKQ8J9wnRr8mk80udnw3wreHUAC4WKhmlE/3vfI0w3WGY9+/X7/3JD1nCMMDezj4q/UtYZjg39Vbw9YgYOy2f7vhfTC5O4E/93wowc+XK3K6Z+aS3HUBkFR7n6+wxNOWmdhRuh0DWSdJ09ifK/kZc2yDPvUt/ZostVi0e8mLuscRECR/CUUSAqwW8lLLOJ4nm4XZ9ceYg7Q2/OxkynpA6+8QuebDJgEVzW7/bQnr8WJ/IoZz7tH7jwt4jGnymqBD7QPYE+H0wQSFx0DhwiSl3XN74VvEdDxUL10i8NfGSuZa80lQJX1sLVSgDZz1bzoDcUQgRKzfHsU3oUmYrAb1PA1wjbwtaa/z97BUnWQlvWvMvTqQW+sD9fc6fNI/s0YKdiU1bPP9duXqRanXrgiR+P/CsoUO9dG/hdA6CVTdtW/Yx7frnsro7tUghnQcLXk3wPq0cQnVKnyihapdAPGyXJNm57QYoAaiLOp0baOOa+kmukfE7PwZCGV4c1LSRkPU2YH6oGlmLDMD9nwl4O96Rrz72uT0M6mlDgX3qWOoJ4mGLCOO1MOQrC37iKNKP2aACPSGlTTXs1A3WC3R/dUCyg3nOmRY74vcZWhbc4nTrW9sQ9ztVUuOckjJX5vHHfXwsvSNszgAgjA17UkTAFAAgve36W5iJw4I/ppSR2sQajV2a+sCqKgv+uDy5pEPJtUJ+9E0MIhFMHZ9e0y92/1DRbsTzdFCutgaP7ea4fC1ObQ+lkf6cc6bJ1/BlJT+EdYrtdJ48RDLHz56eEv87cOPuZXVCUO+oOaHsxOzuhiQbml9ZtZLZl6Fqpj4mIdKtss/ydxe79eCZ4/Wpi5dNjn+2Gt9qdoI56rX6jcCPeRZy26XbPMuriMP80FJiTSEM3dQ+k4pW3EKH53knbnan6VnYzHXXnTQBoJxW50ySCycEuMWZZCzdePHZMlNfS0lCS8MNbtZY1qDkUv5nmeaJKb6aLqKKMgZutFew3XwLZi89ivzlygI2nm83MGkiaLbybydKmrdVmO3yucAlpCq3R1NEGv5EgRHoQVMIzjLQN+ltj0DffsvFsiov9u609dwSwdCzRovZ71w5XdUtpANAJmp9AI+IS71rC3Pq0BnLc/XjnSTl+5gZ4KQU4JuzGXt7XC5aZU56IUHC58IyxhduCyhdoDk4K1RKmWdo9of6Qnfa3GWE8NR2aNaiiPVWPsi781Iyhajo8n6BfKgvAF6NNQmx1eqNJolh5auPK9oWv6EFE3UPbNkJluiyNgd3FmLnk9bZbSxZVbm6w0VahhLr3NWUIJDadg3deGlwPZNG92UEVJdYL1d1n8MfcaL9SxtdmqlGmvbjHsZI+JcX3qt8yejvD7vJxB6bJ5pYgB2hiAeRZu6BxSps8n0dzQocxBwEfjS7C89OpoexM0M4chqAETFn78LDfQqE/NdKeXlzqvDzYLAmnIJHKJSgbqaGI+O3T6yYfYMFE4d1ouFqlOOzioKW5TZkBunFVOaWR/LgX1nPA/qdDHMmPDOmys/wgYp/MoAmkDaPTu4xAcpbRfffjUIzC1OwyGKsxBbL3IiXkDBZ4uRgoGxMVqRrjdQDRycMU2aTJ8znGRIvE7tZF+sa1we+jD2Y0Jy8yxSDSQyTEOP3Jo2OMMwRlsuQXs5FnuyMYEwUKwo7mU1R8aNPvhezQlLlIMgDEcDnxKfRGszgPfJKz45Q01z8IrFNafG1FJcQLwt4JV9p5JGtpcRyTYxjNOLaAGOV3yue6778OEwPUul6oNRzcerwbXx3hJoepegHRXnHEy6rcBRGXIyfOBlrOP5DbALHsczAxuD4+T0yz9fGWmxXfUUzqkLdXD64z8kexXtuVCoNMs5aatQjlvYWgJby65lkmi0wdpfb55K/v9EUqECJ/XXIOgZBllEQGqvLAYrSowy2228UbxKpAW5dkvwiW8HYrA19U8My/1pj6m15Ch8cZVNVGmdRWRi53+hzYBfas2znLYDZ2PMmQVhsAUaJrcX3pDxwB/CFqjvuyTfoKoPhD0qxWu7VcvW1DraCZaQG3wsCNLUJ2RkNpncwj567bLoTWTnHDSP0BU9wzEr9S4ziGwJhWKD7GiMtvaNSefaOg7wZaZu0mH6+MmSXDf0EDvx6BE7Roez36kr9CdscrhmxtQDo4e15z8eQzJc3pTiGJW/su3Gbd6WQTre3YXRbac6NH5zy9cBoZRgF2dvJjwTWENPLkl2pqgkE9laoqqUy69WhxzEsvJdwt6oxOOA5HTtXejhk9/cLiqaQDYC86gb2s8R4l3BGJKJ9PZ1dPtX2lAbRx7+Gvh+iWb2x5WZLIy0c6xzt574Ma9a/goR4u7Wu5l51QDebfzx3yLKXnjGVVc18g3hjUAJ+kq4RmJ/PW8sqT6rJ4Y10OSwn9EYDinzy1DFOFS0skfmFMV3PzhU3fWhB52jAPN0TYlVQl1H9QpJd4tt1E06goOY+BERqxpSSpTZyIk/zCye/QUybbtaFCj6PRXzH934tDpoIFtweLsa3hL09FHI3aB9/7IVs0NcKNgfH/noB0syJi3NjO7kujHKoP+NmWs9C0cxYzv3CQEmmlEQmxYoGQQzcloLoDHqxhXJ5iI1g2VCR54sXH9Tu4GAh5mA44WoN/OzlQGPyQxY021R5xfjzk4BnMIsUlLn9lvIqFSdPc8ewgWTjCB1KRw5zhT43P5kL4KPRilbYLXpPaiOIZyOKvJhcPD7ifnNijjpyFn7lF5t2mrsSiiS4OTPbp34c3gW4hhz3V20s2d/GlaDjTavUIK7Ml52r7kkt8jPfjK5XJeCiZoO6X8gk+zUXfPy6hxe3uQ6jvMHsJS9LEQwetm94r95CH5W0uzGNMXQ6SxThAtwLTFX856eAY1IijxrnO+E1wAPkY9rIkwRKZl+nglkYLTtZ+fjccJieSf2rLqF2gKvAwEOv2jOwQDuG21HR3Z4RCGGKMqPsu5iufYA7yBfs79MjLkcVSJkO9JvkzHKPNowu2FG14y9tuBiDT0b9iH6+BbLM7yT7anMmM8BizPeEBbczrUUt3j7UzgFKR91rL2e/v5F92GYsB+t8QVFx0FLZl+K3z2f+uyX+UHJObDAKZZSwcrEstemyVvA602jPPHd2+RZszVkbXNcp91T25lnJian2YU6Dy69ORl5Taunm/EDxHDpB215mZP2jJOxEkaKJh35c2KiHH3QQsXs7l4/0z1UgApiArSp3erHnk943gkly2hF9pKVLDO1dSI38oxMU2KVlM/PK/gxHAbMVrQeKK4gnFa4hLoeBQKm+x4i0ImycJlFNu74x8yNU1lErtk+hXuAw0B3ydSyRS1LnCVFsE49SNqHwWo/lj4n/eLg0eFDTc9q+Wvd64t4F6jM3hlvrnM0QmJ3894tn7QkPbztnyBAjp89Qehj43hlqLtQn6czZgUOiZzxiUeNyw7XW62k9dWem2eYDlxnesv9ULO4k8Mf8RUrmLNcPxgXZNjt2VVB6zkN6djetn/1MrcV0U5PjU3yjjGpiDqrtSlVa/ZXhqw2Opc5UG44lz4mrkKZp3S/zQPB7MRqwTlIt8ehX7Qor8FgDa6LQQX+G23Q0QJxRW4hgKH6MsTBYmg9kyifKlVCSiNRkrj9agubaQBJX089BgPjnJsDbfhWfKhtATnLiW5HXjcGZ4MS+P93UyfzwsoNFlppguxv6x+04BhZdjRSKtr3JevBqv+Ucp6n8ubyz61hlgiKCOEaL0U2Ja/ksv9qsL55UAwKYnJ1hAjtY/jYxPX+96Mh7w50ocDApLHxxvWuc3eIv3cuy4DJ5TAMAmpQX2Rda67FcJnaetxanD1+Puz5wSlRDCZWN1pMgh//2aZvwl4Q6g0ciZUw9YI4MdR/ycpwTePF+sBI4VUehHMdzsS/X04CO3OI9ufWrf3gTvDNTLw3+T3u/UkTAayxpv28GK/JFrrkbA6Z7kw1WCkPQRLuSqcDsDhWf0bAeiWwV38jcFH2uljxrjP6472pXuyKaEQMVvCoVAxF70AKMZJfbskN655W3GncyRv70r7t0MEFgajIhm09jy/VGcI3cojNzrpOyHDQQptK15K6/rNdzKKGsoVhZle5gpJrnNSXGxrtDIZIb5cvtlXIDtBhKQx1XCIPds2TLMNrHDvxLd3gNKmgbDZJsP+2cV9FtnTjP+qb7ReFLBe4jT1zcmvew+fQLkP+hyq52fsKkpR0SZVGhAFn7OsrQp9lkJ9lUo1zZxNZc7DOwM/8H8uwK1EP3jImzRM6JgmQF9f1yFXpHlrgueMalXVpnqAHuvlLUWKhpKNrgUXDXUmudg2rL6iJ5sibOM1mEAy/iKhR8v0x8b/k7Et7LIuJ8fusm6fvi1oQ2UP3d9CSl0U9gEMsy8yii+Q/dAz2/mC9mUstyfd8N2W6ncPJdtDfq7Row74TGeaQ/ibiCsV9PWAFDUbuZzsjrUicZK4aqwY/ppAUxleKx65k++ggCKne69fgj5WtRe4DBNI1lzCXQplpoH45OnyPnrLbY8bw6MjqlFRO3zguGDXqwG3cysCCk9GL2KSXT1gOllojRsMztER14alCK+1ix0HsoEWnJsXaK4Cap/P4F4Wx7GQ9+Mie894Orrbp9iWkKABaGnPDTulH3f5YUiStfK4me5KJs/SV91QE2hrw1ZQ0TyPAXdXSxNErid9OzO00nRo4N2aMsh8t7Hg9VgAFXpb34bZK19F2njPIHHUKps7bpeOdmqbpf9KqP1LHxRikENSIDxovJrjXAmafE2a/jSq9+mqIJ3h3hlqET5RDoIVliOss+pkXfhH877NJPLbWuh6RomK7twniEVTzLBhFT4xqUBs747NmjgK5hh6RSYu9jXsSwirMbyCrsEMMS6/B6H5Doov4dxk9Bg4ON/6eaT2EWGz7QGwpAePuyKNGV6fD57C0eQSM9Dl5MItavmZQrl3978ve5fszIeZ02RlZUYJT0zkVT/R00CE5QNMsKagF3r3NVXyp7j/9llD9XnV2h1mpMw2HCrPepJRD4SHQTJZ8/hhfFKnKkuE4c+ben14Z5bvl/V7qdFvTOXBbx+ONaIX81O7LrEJDEyZaAek06wCLsJvFqzbugsf/s0rWMs6gc1l8W+gGLgiaTADUrmdRP4UJJWdtidwbjjLfQfiWoUn1BpM8YJRITX8GMdCOPC1yb6gBqwgVykbkYNGKNNUCfi1uQOwraz4K/dL/+0bVSDZ1xQbbJ5mOBEN0NfzIncXmqs3+ynmi0ItvcSTdQLxyJ3Qmlh2fx8msHfJq8U2VpvAx95aGSRzWt0X7PJKuoOIqSt3zw7dT7rG+9Kmz7fDNEBQ/e3FD++KjqDPkDslSgonA9n6PlBHtsl0lcvnXlER+X8QSEyVsC0FphoAhf9snI+1FnNpFDGzkKqSORR/5lKN8/To9r0vWO9RX/aYD5/tkW+GIM4DmXq1oSuVqIQgI6LRzwi/2C41ll0UciDyyYwoh3LZl+FyQw0OaZQVU95ye6h0BBoJ7PU91Itec0NbJMO72xUmJawgS5PWXtgJ1DbZRnAXmGjzPjupjah8p2wgeefzcQ902cqQy2ORC9zvaqtJupWTV4Zef0ZsodJiGDtsxYSkB2Xzuj6fO9afdlGP+z+THMtaEKY1hfblbMSZ5Acd5mnVKrCY3yDnGPfSWh6BagTLLSVxgq+pOo1NrLcYCvq0C7e1xuJiCUEjZn/iRk+OQ1ta7P5hsrKcvbfSH2yCeIQicfP/iGQtKknfLwH5VYGcSMamuixYathtnMlly3iS/yH/KJvRxjF+etjRi+u6qG7f6FpRrQzPgNhJicUZjCNYMHnEU3Ky/phmWEk4vTLqt/5DbXDFl5o6kBRvpQr8uPTqaMT+JRoXFT78Ky4L6BoI1wQOlbd0dD4LaTU67o7cjpIRL9DjMKhFBValM3iNYl2NPfNEtBZ/p2FJ9eYPm5YR4NXbkwy1u5BRAiJRdVJmQu59pBt9a6tbWlVX6HLlI9qJpEynK8qpwx/kyMy46NFcbToJvgcjbpFGP1MOje/ijigTcVDv14qzXbbuu1MaQGj/C8oF5KCq0u59XTq2lQ6SmtiqzBDoABPkRHqr5PQ9DA9yYYqy9jbRKguM3KqrSp0hWDx7kpEvgphCQdIHXiemS09Ddr0wlIjKyJJe+3kyRxvep86i8pQzz7Kx3qaeHb7oPADM8BfI5B9fNXGS9Jtv8hKOSZP2+atYCdLjNb+pL4tedEdmV3UpYF1APtWAvW0dmcRT8LBID23K/VMahwE0Qlnyxr/VFJUKlHochfReljsaBNduu9xnkEzCvTjXURGKWSKaE/QEg88Gk3SScWREgm+es9qbE0pp8oxdHMC6A0WEcPaQCIKeTzTIlgyhDiQ5EScio/oG2IMrDcs8Jiegd0Fu3SwKrEB1fS+ybj44uDiag0w1KgN/fwNuazNnWo7F4PgRWaSGEocWsyR5ESwRDUEMwQ5XgIC0+N9uD6eNxKqUIbRecbEDf//P+RrRFcR91wM44uXmaTi2ine9ks1Tc8vGetnr9t/iiRZMbIZ7wV4RD2Ha8XBjkUNz+BWWF+/b+KEHhpYMSAHFt7AEG26xRDsw/FuTHdhiqObUIxx70YM6aq+UkFNXdN8Y6GNFteMzG0Emwt0Djhysr38tK7RjuV8Lj9nd2iDXcEm9/BaBi1twg34sEM70wwqUUmzS7KpLgBSxbygjvu3kEuqJrvf5cfCarlxbhHEnxbgpsW+wrzxAM8LjHmq0F6oUN8Dw6THWQ8ttnv+UG+Dzn4ff/TF8flRCTMj0dJjctpzOJoh3d18vQENIJLysQKFgrSQXyMUFAeBI1affPnLzuvy1DHPO2wLHKV6juGOZ2LoI87tTK2S2sxDQ/qZ7UnrC969XYaxejvyXpE7dmSXe3WdDktZXpdXBOQ1Tq+JNlK4Hk6N3q/Vykzg3giaCBPzMZRKyZWwlloPBcIVIXIUV7MEsP5+YBffvH7m6AwRVb2RYyqnsECZOwspCkhio5SJ+2/PRbXTDufMtrZFma0y64GirX5aCn7dfwJHIuP5fnsm7tuyiuU64ye5U3tKDDIFzoaNMtCOLT5FuwDBiT2B56yR+oYt3GVDH2d9YzCvv9IgyKI39Ai/G/D0WCcvJVBjmsugSbiidudpH03oEKk8IUG3nQLm6iawG8R63iSqeQdUoSdNKd+mz0/l/2e7rAaQnj5V4dgkjmK0KlXfwLytvp5aF0fb0R0h7iv8jJ1HLQlp/ARdMw5eyEHV1QjzW0B1ublFf0qhJTnz9RNt4bEANl5M5IIkzVur1chxRzIhpPgTWQnyfmoiyTc0Hqr/wNHPylQE/jS1QYFgWTciRHP3uNFUiDjblwC7jmiNloRCLajCXiAOsvBwVwSfCO8AW60MYbGyPQqc+Zzi6GpvJnsJ6V6IVTGGgNnQKu8dJctYdl+ZDtyPA4eV8EFrbU6pwn+co4EMJHIN5soe5zo9FIo3Pkz+OTIUYK0slFcR8S40oGu3R1VkqyGhYEIa2+tSOc4BzoUfXwTXTVD5K+XfRJeI2e03DdTfYkp7kxcI8T5VzDxckF/w8NFni79IWoqUjxiCyefMULx5lbeE+XngreBdYMQX87/j1sQ8zSFU+GphMkKfQaO9AJdk5wYAEEBdIvf7rfaEEwQgKyuLjwdtMopXhlJHo1hyVh27m5zhjamTvIIuAldXydzm201vkc73sP+q82BPj7VV7gcMDEvIjhM/vg8HFshdzXRPfxO0s1iv5SvjE0q6fDAYnGbZp2/cK6CAarwjKc920J89nyz2456E9JxLQZ5NEHWUo121Qs3PEbiXXKQaHhNLiunc4y2H404lYpC3KUMasXTb/WBxPppJB1RJVCaxU5gyj1vnmvIIvr1vd+MjHTdd/VOQg32C1aG4q1wMbTLBCWohhBNM1+c203GRxZPhhiOB0x7w2lGClBRI2UMbgJ4txGaTCdT63aaM+mSERKF/RirV0p0m0hGKFxLUYdXk3UoT0I1dybZC4r2s4cMWV+C27M0lXacJ31GXYMOus16IKgN8u4GIqB+Xg0NN70eXYAjI2jCa8zq4sCbbaVMHpWAqZcTf8ZxBZFyu7rO4ZddI/FP0Rw50nknnyGbYS+X8FA0jGAMNT2tMB+sqgB6I1WevCs0AdAmvOQ/O7BI9uFCOVKJ/HG8OK1p8apleAXyB297uIh2uBi+rNiY8SaKb0FebeJ9jVA+WzcH+dB70cmiiqUKUbj9oP8QmTUPdT6OT5ccmqNy2BfWOq8c/qzE9ZI95hVB+ygeN1lPZ4oc0Turojd2Z0NzEZwP1mveNkG8dIPrwgcaejM/PDCnsDIJCE4KR/k2+WaAn0q76+6O8khjicWvO2vzuNkJZ3kVu3etHLtGcgSmnA8KLtsPxSFAuihq5a9brWXjYA4QV9Pnd93zL549bBHRsKTHQ50JP5Ias/TKq+rjWQbfr+JrPzm1f7YSnAwgQzh835Xn4RXxKnHtrvC1xdfTBmwNOgVF1cvgWdxmSkU33tPewIlMpfrRQdtFZsfOpkCHSxWlIluy/f/MwV9JGHQs5xEFIrOItVARKnERu3NhGCdTPVPFpWssNa7xDi2EZa67EatAXKNB2hhkyNv3IT++AIaqCVAALyZ6Gwr8G8ZFbWrCblaiIwu0bKvZPH977XHZZTxliBqwhzRoQnFgxRRLNJbisVNgzXmNNqFoXmMQlirSpCwgc1TPOXM8tvb6X2ETYz7a+jLUBoJ4s09CCikKlpnc3dmvkvPXsfsxKAgZQ55iglmI7tGr4uIHUdCxXckrzyKE1RWsD2eivvYMw/8itEY5h6cYsPUThn6aqz1oa2cxxgLddlHw+rr66r2iE29LSHbMmDR+7lyY7nE6UER25hhhtQB132iZ9NAZtY1Lmo/+C+73wFivgGwZP/x/V0jp2goo02RBeA/GkQbJ9T9J6ZToVHa++vdcYtoRpFdujMD1QbsMAAvoTBWDEiT6Wi/E0CByvSlNHb9rS4pcEA7VeKk7m40jVu0QgfgiZph19C5rhTxTd/lVdRd3ZrB3PfO5LCK0L90OVb4j8DXbj+1fgkFfqoh8WPaZ0qCH/dtCqZKEdnlyPS2RxOSCurpKfYgRXGkOyePm6hOrI8I3YO4Z1VKFiGUeah8m82tPn8fZ2z/xsXMLOl8EPo8iUBQE0/ZTTZCYjcCWtEHn6eGpnyHS5XhIYpX5sjAWJZ6eXz5QwRjvO/yD6ZDlETcJLPCGUecBnPfTgzv7fFg3U7UIEyHm8P0quwPwXl3hS5WWHO1ZqzPW0mEqgYHiQ0/DRx5pom4d22is88wkOy6igcrHRMMN5/aw9ym4V8XH0yqcfcDR78nsjo+bjU7i37smMG2p5rTl0WKoaxQEar/S/pT/SBJS/lBbj9Ks/P1s+CkdEEUzAquSSckDO8lrCyRqFuFSBUs+qigMgW1ey3jl0x0gNi/ysexDRcbieCYi6H0PxPujPf/RNLu/tBoaS/poqLSHhhKWvfcokxJwoAT3QAz/1gijOaLd1Qv8d5ut7OGo4HOnZvo2G6mQnyJ5WkajiE7Z+BnqMm8bj59XR9C1vT//bmhu4P2FDwLVr9PGsOopmOblz/cCMQ3wpbBSllnjY4g6zT4D3wlIutOPRsACCJ9wkIysiGDjuffBIryd+q1NjVsx/CE2UkWwV+BjBzC4YhJZVeIlMQXAPrLjjqMuewpIQaJF67Zqlvk+NcKIouC6Gm7aXNbhcguiefP8uVv9Q3gwVHHNzZ/MMHW83AZbUSojapNzac3nAiwx9ythCK09JArSfs7dxMySmr9p3CXpQ+YFUCo1ybX1bC57XSX7WR3sYtTSGnLHEk03lZ99H6vKEmbT9namQKL3Y88SD4lKbzRPzYNE5IwD3uQR8NXH4kwqM5pyrfFuHpA9YFJ9CUQfTS8vROjMa7cGuT8/QMSJvw+11cFdDIdN6fKifhGvfUiXeo5LxzMhQi+kj9sWOvuwnY1Uv0HEc+fMzWtCREQltxNqH5sqUUi+k4kN1ggCJMkYvDBz8WN2/b6IqOKwqbh66ls+VUJeJwKn15b4peOM84SoUlMEpDKo0qyIf1L/2CHciBi8KS5Hbn7olaGoMdHxHhQXAmgN4CdpRQLQoZWD0S6u/l1W4yUxn7ntOP5A/VCic4r1gOMkk37Jp+Om9970lrGzmEa+fKAhBzrOFOHOV7OrwDASlvumCHt7EndA51nfRQ8qjXshT1w/oOD7a4pbiURE3DWjYiS5DtegVkkKMbE/f4wbyJ+vZQXHBp2CbFmStzGPlA0KUnEmLB+0J4Ahdqf2i/wX/nuyllSmlY0pwEdius8ZQOlMQ20hRWsMLkQSkiebPiK/npssb4Iz93VF4cTKm3iuFFWS4DSDTBgIUrCSJZsF4orzyO1+ZpmKgp0zw9ZKnr+ydEaXloOA49yoOs1FPWa+svFTakXRohdPMVCYyomNw/62ym2pBXN8cWc7YzsKiQANq4OZcN9OHBp9pvnS1ls3TyzSg0l8gq3lqBSBnruFaPHRI5/9qAYvwGgZktQo10GOaPpXOFAskhofxjaGm3ry1eNFBQCCzGJq1jSB47XgPl+DW2aKSYgNQxNUt9CE2tfnJJQXAsaKp6VpFlOw/hX250MEozgNyEBREsiSJS+SKdsrOiKiv3q4AY+zJl1kojFoAomT4s1vAAyjayPFvKRgioNNKWADQrkv08tN6t+dL0pGIsv+uQOmgOU/vfT8vGoiUsNFsv1MVTftuc858mRhfDxGRf1+l9WRQfxfpA02Y1KVYXhLjScbH6R+CVQkP7j1sd5kjL9ir0ujnDFhbDhAHoMCAk1h4bhiI71ICKRpZUyfvYC0fDbZA0F6rNqfWebJSPKqVzc0GgsvGzmYyp9eCwz8X9Xi+LYjEFQttMdqYAfpKmeEPnRC+0VIlvMCIRm+cwULoKpOQDo5n5fF/UUxLEff0F1/EciD6WOR0mxZ+qQZkmkM6GyAWdyBv2xiCNLUqY41dlwzq29Hth3CjApmtcEHNDiT922khSxB2aLyTW3pjMuUHmGheY2tWh0nH73F5PpJetkQnYM/Ltby4cg7geB+K/9bR/sBI4wbjvKN6MoIjtvLgHBISoNBdORSHNgVdfKHBetMeNsGKZHJf+3PVgxvcfqA5aG18ZCt5c6+o/o+UqDVjJpEdaSJwEgUEM3qyecZv2Pr0sz/2PQB/OinOC23Nma9znxNL4Fj2n3NRPlmxjFSitnqvrXOkiQq6SPPqXnDR1HL3CbWusZviFsXzQxsaPEeDGNkOCqW+5QAK+UhrALOtZ/ZXizOiK/M1R5J7UIVbYj2Ub18yYvhYU1atmNDuGXk7EDdadXwqJm/HVGMuVk/64AVimKFGLkL4wngwWKrKQNDjF/17fhhzAHVxrGovZMiKGhTLaZJvXda0Wy5WAGQi1iknPULcYVfSftiUbrBxoeflPasJgl3GYFzsM5F09o8KLKsFgIoMakwZCr1t3JGuphfHIBNkOhMlI//1MbgDq2p75CCQ/tVUTUiOmMcNhTxElLe5QpsAPDVkWyK6eoxag2jAp1vKXWZHY8ugjDL8RDUJnb/pzDqFLIMrFLWNyn5TE1pDG4p1rhUnNqD9hxQDqxRza+rUDzO3fHJvaNo4wuwYPAiqM7uACrVtF+q+e9k7WLWyIalZc0jekuzOGjnO2WNYfIkx3Qeb2jTfhbSIem950DL9ohSXN+R8DGMIEqMNtkt2A7ZCg4jdbKcfPyRxZimcDgriAYN6EM4sWkEfXK5B7cfGkQe8Xo1cLewKmhrFlbkkCue9ifdcjUAfZUe8U9C6/hBvuqedQWrA73l923vmVp8d9mWOrt5oua3mWgm31X03piM1inkgRyOe+o8Ug0oDPJi5SU8wk6AXuc5SN/z0svgkyKq7d1u1m5SDdYsDmPbid58wkXkWR8SPW2NgxZ7i5+Ue+7o1iq4m+4S2cskQv23CdwmjJzKW0AqaBJOKpoZDP45F8lI0IjNpzfGxvo/Mqmoy0QY2Tr9rvRfhNzMUL7uefecHnN+p7TgsxS6SSg23QhFOjHkneDd/UJwnuITCFLY+MtqFiWGdYaabEgL0eonuPS917+12YzzDGhDeARCmEiRh8rBgGUDlA+hnO8X5vj3OaLekgsC2VK8Y2PIyIeNset57CHCL/KEHRGhrbL1hIwQLObqLteur+pfrtmQV8LDsOx1p104UmUnX8E8jHlcIw6p2TQt3Ptj77XMNaYk0PRV28z7KNXx2Bx3IZS1Bp5zHWufT4HxCXOMe1SsByXEfw2OSG7uGcBxw3lSUmnFCfRT67eKZmcs64pDBRX+7itureiCPbhIfwzwJkSnx0p/eDHsfDft9rOBnqcWC0EU+Ch9nWfBHgpQEV3NcyqCwPM+UoZrPAmgJi+9DRoiKWyWi1Pnt9t+VdsG9FEFXQCXgBAVR416/VHnbRMHXpACNkfu7CgiRYu5HqvtF86WVzLyZLxIePOau/zKMfpD6uWqkVuWa1w4eRhj/0W3LUgLXkoR5VRXQmT8T5b/TCO0KyBeSUPeJk3UiRm+jaAV4rmYD6MY4lLMVa1yJqeJ69DhJY5lJhK4Qf3I/bZGXHVzahpXxhipIMMFxFsFgn6j+5tO+kZ7AXlUH4Q6RUktdi07fqQZsnNDZRuwSN6bfuluMhQwZl4nL0bYNLp7Jo2v4HGMZ9K3V+bXcc1S9XACStG3H2i3ch2FKbSd5Rx/4uGrptpgTmR+7w1YB8IWb40tCPGpYeeaHhoJ0GrxjLGO1tQWDjEDR9JGgOoUpOlBASS3G2+QKq8yH2F1/MvfT7WnhYDukfsO4PfbKJzauAbDRBf0UuPlQJrF7q3PtZi8U3ndUZZWV4c2rSaf8DXMwMDOFhGlGokwEnTlNsG+L+YcVf3RI6NeKi19VjfWJxzKMFRCHWvJ8Zw2x7J0jreOKOLiUKiXM50EUV5+c14byI+9HEj3j+LjsH8Te9LNuKOjQnknp7ASgrLgZ1nbwZ/a9j110N884h+2JbA0zgaFyiacqu/P85V5p86RHW8zvszkc+9JoaRF0XKpSAVfrVwCcdYQ0n9wxQjPzOf2731rjRLQFZ0fa/ExxkI0BLMDuz7ELETIbipMT77BmROhxiGLROMc/GHl6XHfR/DLRxhaxztF71la4MJh6/hbSIhvdFDKBzyiFuaqBg7E3HuN8/rn9NcVPzcHZefPUNkrQvu7JPE9THScJA0qhIr+IG2RnPzIyBAX/LbFlPUL9ed0/LA/UPKDPWGgI3lsdYCxvhSrCgQLjveaZsPlQ/X2jPCl8G13lpNkGhSDOvXEEtqfefSa2FLAIDQKJGUtYwPFTF+XQuIGcLoOkevexRyCcnRjRg8KR6HOKfL0EDR+INSXGWE6XMgxkHvTxmovkLt8eILLs1GhVRUY46yB7r1gZZ3r9kR0WUCQRk+Fk88hLVeYJWsZPDNVEsACMQpeIP5htF4Heepk9aRpBp6RmlF/MxRsmkNXuqHW+GbN5qBK4nYz9euFYqnfy8F/IAPzkpsK8Xi81VovRp+yaUhyEVeXg3yjtYvhzUZ8++v9azvPUw1IzM2roBtZbt6DKsCvt8ja3lMre9W9oTIALBZdBFyBo5HoN5KdAUpY+fFc3Uw1ZIRCOMRvKYBHy1TzWK7r18S9DX8WrE9idGoTbyEQCBZaeSw41VHmzyKNm/75zXvgY909pLw52DK9lzEesI47eqHMuM3bThfJlOM9BgmuLs/JXIm9juHwZy4C0UGTTZFjq3TH9b49Qs0JR0Gn7GdBBhZM/JPZJ8eIo/Rz9Mv0fvNGn8ow+zBJUO6jYbbsUVj6WbyPvL9a9XCTzAu1pOvyftX4jaoH9b6UpsU7vga42WWdA0OZtQzHMwcAquvePPj3OWd9xcFQwNopN487r3W1S8LgqsD/ezV6HmKgjwPCsLAnmXPJq+VDK6mRS+lOHni8Xx0CqfBAOOm9HwXhofoMfwHYUy9A7i2XF06uEOM0u197PMrosdGc7+wUp2DhVzDvSRnKuxcXvpC+mT5O/2q85yDDO8coeG2sQ2DFW9eIKSLe1SBq77uMU/2Wydvogh1nvOEV5/4pph+dWsbR3you8hK892m10mftgPssH435XT/EAFJjjfQod35SFdMsZS0lc6AH1Bmrm0wVLMO8IX4RJG3pGCPbbQAoP+Bbn89FzFuTQtV93+TycO1/UtT5rmG9RlTwS0/5DFO6P4U5GDWPvpBHR9sHfWapfDVRz1Y6Uq9xqYCt8fx8VEUKCv92e4TdazrAnfwjsjDPyC0MJQLZq170GB4jPU0BT18FRbqJmvjKqEpvSsmP3lNkeklkhtg3O6FFacpZYQS20EmHM50ytKCyHgwMguj8Cwuyt7fWBNWYpaweCmhaYeKOtLthFD08l4ma1JhfPMcBky2qLZbgFiZnnqJoltTu1FkQMWoOp9rOom6ya7b54ZGiRE5mU5YWXHWlhAK5hCprqRn69Ku1wZFO+RZt8vdgQ4QDY42IftGeh+arm3RHQDznhOw2gYm2u37buyop6lN3yaDiockuCFJiu4f7G9Pqb0FfBfbZSf1pIa/OxBHu+DaoFNS0HfNgrTjyJRWsSjzmwdVryRgtBvoawL4C5XLtpQYKnq6NGbPq6p+gy/7l8hyElz29ae6mMc9maMgkCbZiIJ4qOrdCjTmBFmrgDBBnKUKfG4XfPBb9DyJWjWV0y9YmyjVWMoBVvwmUUJm32zfu65U5UWTgMD6zGwnCLZH3swm9Xz7En+dMpjRVqqB7EzXv9MtRSR8ebRvmunxNjTqmXmWLGfaQel9gXXKCOZOnwRc2fgJM7Oo5Qgr9ZyKAXxm2Qyo4uyY2mX7u9dPwyb1gC/h0OTn8gVefDERPN3Sg1WGf6Ca6oi0G32WCpHXkxzIdgsxm5/t5UBMe6/9HYxJRtPZ7Ln7ME5hjhQo3XDhHQTm0PsoZ5u9whwKPvQaqeQRDBMeEVA3zjb/v4xXiqL3MOLkM/GPAfdfIZDXoxupTkdahc1VVCNMa8EGuD5VZH7dUfKJr9HX1z3Tokm74JjmQbYp4ZURuZyX1BQjxu6cMdKjhh45CQipbbzTGVbFQfFE1t7pYJGYUzkkpfZD3LOuGfWB6p0Yccb2Jhd/KsKwSmKCBdvhD4AnIn8x6GSX50d+K5bECTOLXOPuYcEwRSSycHZNoOw27P5c65kvPPvqLhUDqK2rGy6v8AKl8qZIA+m8r9WnABQDZcJ0E+BGHJ8z9zeaYj7AarvHF+JGgJsYPsACfHuZd0JdbAiQsey27Q7R/FrrtDMgSNZWTH7LFpdOweNsK418pqnJDBWbGbS9rQDfLAlA1xXjloq7EYBuGTfulMJAyciyOE+UZCj+8NoBcQ2d8csmQY2XE0cP9qglYJ3ov98qmRypnoCcfZjA3F/tVmIRkWtpGC7FJ9aLeqmM65z5w/EAbJASSCYi9z8kAcFSdFIPXA+yyksDfbjajACbTq8qoK4ruwtJ2LSrucNrhxyeb3GpuxuQdl1gwa8pXv3kggi4k9Es/hEnq8Bem6U0A4Q5yqJM4AqIefhDL2B/9TmvQKU5DEecR+rUp6pK+gdGDkW4vWfY9HG0Vvajv/dolnjq7L7D9MaGcMVlMTkHZf8bI6SnJhyyhkdHOBYtQD2NndlyuGZHRiyuTFqVxKpgVIzdhDviWuFR78ZUO4XINDcTmCo4f/rR0lE8GbTXNJkjc3L08fxSQQ6+ZCAti2WZm611seAWBRM6NzedCogCZkddFO8yqGpkhN+dbjxhrO52iYDZcNRefKI7AssqHqQ57YORV2BgOgGfzpcLaRlpq/mWpoB086zAtVdi649S5gbgGupkxtL1Rval3rzOfzc0RLUvaaFyGwd6dL2tkt0yjl3c5H/zCA8nAjTGD25VgLX03Y5Ttk6kUUe51/n00b+QCgj81hCBOZfF0mbeAnoOB0LM+fozxYicJSoWaZXLjj7i7DBUcHnABw/spJL4ozm6vqWGciy5x/3y8pIJnqM7+tHR32swKXLUdJFInNvDBP1Ngwah2YYO9t3zzkxRPEVc+H9XK2p7UHk8ks8BOmgiTdTq8yzhD9k4qMHdWzKUEHQh6DBfIFhOKiGsCUDZDdqQulQM46xLEw2jLWhXSDKeB3rlgE7LaGmp6ZiFJwzGtE3Yuo1OtFkZpQsTyYfxV8WXqSbcO4I2oJ7bhwoOlHKwcr/ecOOn2d8M5U3kDFZm7IW3OWfRWdG4rhOf0qFOu+Qq0ovBWwv8/gajUDH+wOQWXWAl9JeOWdvdmft1SJKop3x622mjZ/yp24aJUKbzBK5Q3lfTdeSUBEf54EW/T+dfbv+qMLcu5P3fxLd9iQedUa2kUnIuqUNDJM2Zpaa9zUfy7BuGIXJeE7sLdBhp/iV+zbvSMfy1C35t4ca687QJ+PQ80cytEEd6ACFpxERbdI0m6QZBqd70pfB+oTWiW1D0kT++KLxEPbIr8rYB+UvbYsjwR+pxvcfc5Zt6kgT+LafE1sQq/Rxv81T+/OCz/j3BQz80HJ+rP3SJBLu/C0Lg7dgDv/POsPID6YwA973NaL0B1pQJ3ZbYKNbr9lEJq9p0v+0oB/pQPnR4UrxIK6rs7/3c/VTCFsqidh4K+8jfXqmGmlkgtgQtNQM8lSl8UB5uFZaPVEajIxQ/AJ9zm6hfX9eo+5SJwSt/nmVQ1mWy6fmkEIlbVxctCxhpPVme2+PfVWetT70YrkYFRLBFOnqPV4IpixiiXrWEfKsuiEMwQP9JJ44oUQkbfY/pA8CGauOpj1Cjfiic45Jq2hAnijyFmgnurE0QzLcqDLwic8sAyqYjlgY5y6CDzCsjlzpZWv59Y+zx/Ni1orp4106fng/OP9MVohMWv4zx4d1dDwUeY85oNwchnfnCBBt4ctt1TWomLbYOCB7Fy3+wGA7B1nChSxzoIPEkgjZZj3n0IQMo3etNfigksQa+qmpla5sEclE3uB7ZBC3ePFIcEYrS0ppm9deUq5grODzqxRh9he82ZFZTpkLJoPY2dj2P9PFGiJ1CcjXRrtQ+qVfVKCjWxZygEMhfmgnmeUTtjkj1uXYpVBZNKnbpjbeoArQGKpFHMKAbqpL9D67m+ECj2uvJ6Zh/oGIBkp/neQ1fr9rZ1mGo125ZqFtYjP030855/DQbzOdN92o7oXzo9wZtitF8pdRPLy7HlD7Uvqy8ZElRnILvyZKOrWDs6dfbQCvVobeyL9obm1TcZpyCVD6Hasg+LLaFRLtPF6bTeHzCgN4lP4Bw65CI4OEC18nmTwe/EkRL3sQx3Q+4cgS/JGMKX1ipM9xDMxtInJIoKvXPi/xGM9mzBqM7jYU1DFb8ssg3aU5CPzZ4nhQyfkZhKuMDXGTsu6L6h7B/RbIzMFPhItOMm0OE64liVd4n062JbHblMv9u4pWhEulCLe2bLbq3kDfGtIzt01TAQ1S9/tV2uwKkEgVg/krjUahpRSjol/BSEUuI8Y4vfMryJHFddZqGgyM5rPdMHTDJT6EtbIKnTKmJPeD+oS9RtKSusaeBdtuyKW7iDr7cIiJNJAM2u8TFrMgjQvCTiO50K9ejSKiWHHt27L/O5Yzx8QxmVrA1JsFRdcZk89yuQxAhs2KOiBgrTCwQ+mjqPEW4NUiRxQxiwy6ArqxjaENLeXvICmR5lXiqkiYMjhKavH5IgF/RqFn4jVq8wCPdTNfrziuqyDCH6J5Pc9tcpbs/EX7J2HTPFKedW6XImQXQiUo0QMj87+KWxPCndvoHNMgs6DljnwGeJ0iW7ZoGJy+1KuMw3WhOl0AMSZ7Fyai6ZcROdbqtpEejqqwK/zIh7aMbX5aqxmF05cP0ihwVWxlv/h7eyYUXMawdXoXLlQfCXrqA9UrlA6kliKxmqKCwcIQ6dTyrxEMpMcHtcYbHJBjQV0NbCu95W4Li1FIiM0ShezoS6Wq0Bd8g5blezAJKglXo708s6dN9oj2mjzHDVPcAXMhiPnsZ5nZ0Nh3a3MBPJ5D9B7wnCsqIOpjw41EGpb0LcNvAsZZeAnJ0WhqzIy0D4vjpTw5jcpwKyEYz1TkfeiV2yRHztBC/L/sMuiaLyEJwHtnOYYw28E0NJqGvmTcFZPxxOkuZafNNG0xCRINWV3IGChamyLHlgTbwqNiavpJvzyplKIh4JBIR3SdABSH4n6IEt+DVvn7XHLpFevqUUjT2+tBj2xDs5iovc3ANXx4sc4crCgl7oOxfIfDLWjOaaOgz7+Sk4SmAghALR6TQEXeBdJ7PXpX0aaaqCNFrZ4YbyAw/yWu+Ujk3bac7l9HTfYBB9XG7dtnplZnPccJs2FZt1+yXgX95nk8k/gJla5QYGhEWkF9SeBev8X4UjaX/lHBJyq/Wq2s8AzAh8338C+5ur/26pDVro7EE9CHAFWIOBpUHWS3W+wdnR+G49YEXYtwJxOJB94sNpwmjARHjhLOTYrkM1Hx77Aq9ppxtPit+/Dka1RiG3yU+6GsbgNuazsI2WCCNrso1dllOStyQvUkh+wRXB8ByS7ILMC5n5zLk0sXddXdQFKHq7ypjWg7C9C1/MHfPL/8RsAYi2KuP36ga/RZUUOvNHrBTejlE3EoVmpdfEXVZlfE+MnjbLusK0O5OuYOn0b0ej7xVh/6fO4GeeipBg1uNiIHms9JE7XTGCWTe2V1ZPef5K4MiPmw3eI2FBL8z3bDRnVF13n+wRUqjINy20bD00zLOYgtTDDWEBIg791Iin/PreDtT7fBKV1yfnnn7iuF7A0lWSImMJtJYkJSdBwhDETLGzx6TzjDHxNPGxCnqWhuQoEbIbjeG5O0rJi2hEr8LRdl+hv+yYxl+wseUzspAuex+CdhFiyDJFeALGi1xS8AhboF518JGYOeHXZldgKkGv+xwUAjIBYJuidMBkw1m7YGJvymxWrWBSifMErF6IduE7iMGrHUEDQLn3CymaXCdDLwBEnos8/urmKQiqLIBaiv23QNm2YoQz9qI8PDSYMpiwO6i53TKVnZPDGoXjBhuZqJQ9cebGW3xt0SMz0Zt6jlT68TAROTE6pcrJsJPN5DA50c06wymMPm1J4rlsxBp6Ysx94MKfsvy4gBMa8I0Z/uHW/5BPPGLBE8cjqYKlnrrf6U5qgiqlIoT9B531gGCoYIBf+M9rJlM1u9HgtZNcVdgORL1QeFp5MVF6FOI08yuUrUVZ6yw23Cq8ZmSd7CvoQZumQd2YqtPLMFP3ls45ADCyewYexGRT0o1dAF5Ri1BQwhpoFrylFf1kFo0bbSfTFe+Zz+O9zjjyhr/DYgd31SWiJps26xFBaocSBtIHAtd9BvslRPpOXaLUowZU+jdrUthajHLaU0eArOsgm5dpZolwJDB2TLlSNy8BNRaqZPh6bQTensXytSRWpN7F+a9BTKChI3AeV+HJADCRDyLvcmpj7dVkaK++9LblmbBu6Do0TDbYVVuYlL7k74f8ERYogkYEHosl2RNTvA5Nvc/fMpSG+cwcpOhBulzIkx9IHoc/4O0CCcdXjwghTxF+lBJMkSeHlDC3bHcZlFFGdDH+pc7YcE2ztv3xzP2gkNLJd+uSR1uFk3ka9RhnK7GSCtUyNs/qoqQo2LUjwkxR84gxJjqTLh+v6e03ELq4WVpLNJGGZSNx38mnigNqzKj28whnGxx7x7kVx1YFNZL24QQJlfPL6AFwNFwzyrA9IefFS9n7xaR636j1XABakDkaThhZbJiBXE1b9VUH7bKd92K0tgHWLuhDk9PS8ryqzjbDPBUvxpFCuMUDXXpsEy8oeCM1z2KHFsEcAfXIUi15aHdfrG6/fn+wCSp/IN8uT3wY+TkOJlmr+TYRpvTBgPV0m6Grw6ed3xJk8hzy/368MWrrzFb4bgEsA584THcP6p1+VRjbIbHlyLhLSY1oAlfHY+FLE7SyZKuhMWpiqCCHIYy6LNUQ7xPks5W/mmY0hC7hEwh2mthj0+PRBQqS/VH6c4l9rx0E8QziNKuWYqIRoAfx4LWOGJ6yP2dziRhwD3QMr3ieYTDxedSmaKeOhqMKnhz22bvmKu7Io8bugeJEp6i8II5YDzqmva8BnguRgcVIS8T/tILwIuWjxawFcmxms853C9YfdCtF8skwaNoQXP9dC9ibOKYa3p5oVb/wDZN/JRP6xIXrEDiCIhGwzMc/bg0YbpbKkDW0qnrb4rWo8B/qF7dfOVGEDgQphQoJr1O/K5N1w8P4AE084Ecl9vAvnayp69Mz04xiBBeiDKf4wBovs3D+6XkbyyfjPUwgrTMXltPzGpRA6RSqrTCMKKGlM1DSJAEUKGZGEefsVP1bukizLXbhrCPCqJP5G2c0aYFCS5QXg1IbYJossf8Zz+hp4yRTa5t++mN+T8wI9/bfa0UkDKS4KPAmC++utRGbKnO4+ev6a4KbP4sK7IKByd3o0YuNi++h+GQ/1ZKbQSBHnxwuWYIsD2ArGzZ92nqy17a024U6cmvKY+RVkGbwVtVePhBabXaBcMJecefScMUCF1ZbcfsAXx4kuX9bmhC4JCPFQcFttN8sZ8sGsU2vHjfmWWAv04csZGr/kjB45l2hfQqQtL/hXnNxBRrETz+hkjLsnKXDxOdNcRnmNwU89LDRwvaN2hR6mqHK5rbWd0Inp1zAptsq63UGjrTgt/lcTh2VEkp+Qi0jJD/IyEDjcDwBiEjNHA9t+1ZiBkcJaFqeqouva0CwXyD0AddH5qA4Np4keckNj9lbd0627zfedvNoJOWkE3yP6atZYnsGQivxr2Sv+HCkTdB9PYlMK1sbL/smXKBLyrZZ/O8brHIHgbX9MvMYzLrcdHB2gfQcC6GPEMEsl2Du12EWMW9/ItTCQDlZL6QwjTxH6D/UB8ERqygVSTXD6Ej/Ix6OC0bd4LuYeRXXguh0BynRNQND1D+XCXV2HEhBX+V06gNZ09C/G1EiH+maU8k9cSQpD5NtVfkAp3pwq67eh8dls9J5wXMVr5I8e+bu/2AedXbk2E1bmME7LrLQQkm94fFCkr8sHIoV6swVXurrDXCjjnx1PJT88ExElD9D7JBlaPCTZEWvRPpeooJEFkpZbcugOC8J+GO/8o3uWxb4/W2jTjBKhHV8aZv6EDt2nmFFQkDk0Qo1kRaDn/T6yhpciE/rFRpCmF1wvWQXhTZBQqgANRVMi+zacfH/dNVQcaEzpqf5gYuBsX3lL5BXRG54Aw7amLrwQiX5F92isSF7I8H76fk4WE9tPCHAQoFofAMelwWMCQZl4tKi4xVBwGWXUSDS9srEiUWoJ4M7rrgtTi4UORsnq/hGx8q1I9P7/aLBRiIJL2wHcWgcfX3azLre1mB335E7QNnUT5thIrl36yH2+4x7LSiYcjMQezYXXcg34JuvkAMqTLiJq8JFLDsCtF+/oDUkTZeAdxaSgQ0HU+cP/5XsMRCYiYTae+Gd7RHxTBHeDps2DrOXcDyl0gVb+mpkg66YHUtCV7UOF2ahcvTWKLws4o1aDKZt5YgLXAkorrhJGCBJTd+hRqPbJNUNIY9nXmGloH8z5CU+3W5W4vpPK5xaIUurIZ+1KlcFuqRhxTlbRsxFdDl/XHPBgJekd5H71MDtHjGCYoXJ/xPECiWONqwlJ9wA3MsRm76xKmvddI9NILPO3Kjrc2+57VSlruCXTHtlyMpf2eSlzdMYUpxi/VcQy4gsLVt9U+samdSueOlOZpItpKkauHjQQdySQN8ipC+mlw3Zu2z9rd5iO9IyX53GM/xBpfZa2391Rgvvps40LjcnfRBIq/pf95K79FnhROlpcAzdVHT2y1TJH86TSLSPP1j1+NiIihGADXPBDsroNpvf8/q4mdbRu3AwINkTUYDLjwgNCkwQ7AeVTaw24AIf29kPTP+FhkzM7ZB+KnvQeQVPvksgg6qdhMZZD91PPNgW9FqYaQlU3AdwpCbingDbnkYPotM5VZ9bjjidFnI8GLWRh5MML7gGmN9UfT3ysCQPXAJE9nZUagklts+ar3Y4vORuyq1HN15devRkvgGdT79LUaytz9SADMUw1S+M7nNk5WeUcyWYU5PlYmY97PzNgon9DGy0hHIVIb+VYuKzi9edt4KtAIIBSYw4e0x6TnR6PX1BU/EVHifmj85R4gT0JzQoRXTqcj70mB00a8yoxLseJG0/ZXt9tlmoOE+rLGlr1SONX1xCvOn69QavIodK2d7IsNvmlLfCN7gmDEF00FIC48/yGjuWklMKbHqDU8SyOiJCp2Aq9R8857mldBjvY557OfL6g1kOrNnSxeBbxOE4N4eZH8PNTOyb3dUcDp7h25lCUQ8BStQlGLEEHVasr/djHUmqgO7WXDJNpBYKltBp8carSA9/iYwOAR9mU9KneByvsehjFS+Y5CrYw1xy0YysEbFF7z195pxWzettT2jJiM6/qyfv8/DMupuxjK+YW/Wc+teiSGzCRbT0zHWQt5kbDjjT1i8anVtmzeaB6wOyoInRxY4d/BHGPuKhe52w4W3YbT5G/uEztpHQqVUilvp3mfY7Nu+5KyNkVMMNH3b/Ro8cX8epmeOILMk160+5J9m/669oMItI914meuEMoVi0vBstcywqTCmQaPwd5H2mI/Ue31JP1avRgYYvsqEZDpQBPpvjQyZHxNSoIPRFz/N2869Z1FZJ8Er0D/vOunxw8crf4Au6fxxH9C54BRw8SYZceCIF3Hk49ig7ec8Jsv2kQoWpuKfKyW4zThBQofqoVvH5qfnspm5UP8IyFYUvK6bgxFBrNfhjYs+31GiDMaksMs+iRnQzffFjXOm7tbZm13i9V8iw7Q1CPPefYZKLE5CVb4E9f1yl2XijtnJd17S6WeXhqt/aFPEvT/okzMyRRW03OCpf+6pfGpepQZjgjIljo5ao6ZYRTkC85Z5J82q252YFOupWkMcwAKbXb/TC5T13/9e4tfGtk64+4zkwVsz7C6ytyTZgF+5J+oOjKpchgniuuqj++WJ6MFSa+UNcPL1eQ/d/JcVSenKiUY5Cex7G9XgClVe7Zr5nR8JxIEBoRiPA+x8QQiA4/W9Fq7w8wLEUJG9jX5sFoyXY3rK73YeR59yvXiG9uZY/d+3Xbn9P4l7Q2X0XgeSf15ZA27NiwMNiWRG30YSsByVJgZbDWmD1xagylIcMn/EUbLS7AuL9QDkOe0/+VIqKD3S2lwWy6bZsQsXUYMg06Kt4ge3WMaxtZnulFiZcuuHW1M83GFhG6KCzAES7btv1WOgpZccvSyAB4dMudlxMyfWaEn4bYVShydphAi/oh+2NK9Y98jL9jnNaoU5yddQhoJwa2jHBpHxMSrczxL+qgglNYN1sGtZpEIB8iHau/v5tcNTB9i1sdaZHgGEWKdYDYPluvgaEUq5cDV0/QsS4kfpMySucyv57ylum402wKEXqiGmbRcCPpyzjeFkvQAYtVn6Cc816DUB1wUH1yyUGymypMGRkJqpvp1So5GFMv1MNZ2l//RIgY6moPQAdpBxgsLX6HcAKelEV1l4Req5L2ZtQXn5Ozau886DuoWq1c3TX9YLgFK0KzHufzN0vPw9IVTX5P4Wm68Y/MoBcwDkl4grz7s5Q7xR+WTP23WAGzUNIkR8hdMHqrqVYcr6zPkf8Bfdm162GYQ4ZVM03upz+D9JpcYpA/1dx4y6w3sfvkZLyZlRpMy3+XuAlFEUfHThyy7NYY2IHtrO60WGUulm0AWstm2V+nTI3xN3GPPmXzI6tklTEBzLbWGwdvUWxG47TiYFVTFt6XAyxUzly0cpr1FhkQ3DoqxHAFs9LDv+jpu72dJylaLZ8UooV7bae+PnUZhG2Re8fqo9PTUBJh1EsZ1A5a8ZKrg1sAzSwjyW9NaIn7wMOvyf9lbcs6iUcodjhvwQBR15w/Kq/BEGYuZtJ/oS7MG+0JXsKilmhSPeTKKMv0dFYmohLf0b5YtVzKYU18vWJKFJxd3yZEDIA9Ekq4DsEJwxJ+IlhR6JLrlY3ow/0/3SrLkDIFAIFep/gwSqrsIYwq6abiERMJ4UE08Pq0rM4Cw1EnZjBcHaFsFR/rB2eZ8YVf4IR4+ZXtq/lBwfHgW4+MOLAq9wE0vCY/wneELISU1i8t0mwnjWA0bHPYNZHWenMJgSeGHq/qb0F2cwi4oCYkNqBZymNMrUE/uZ0995lUaFEiDh/WS7djVchc+fHrRyFO7KBZYCa8kbY+9p/krXdwTeVV8kLvxH7x4DnZ9Xy6PxEJjfeNS8yNQsAWqEP0xlotzU7wL/wNSQgLOvTO9wIrKFVml4Nmw/vygE1MUX0zPPQTbyuepmHVkEHzQa7nZoT7W1WJz2dTS1F2VBaF5bXBUUnlpQaAfRTlo2NgxlpMCCUUUHymPiU4v2JU+3zBDlwYajQlnacjNHF9kYbtpttlvqksveE6Vg0IX+UyyfcCyMJ6iYOlVtZfRyGqkP8JBwXupqN+qWtWruQ3tuCvZbRe9KJD6W/f9WnMgG1mloOAyIxoDYQhE+OXtW/Er9OmEBCfGmzP22q/NsgF6/BXeq7jV30rTCojQMHa04LH6AcI3pJn3dqJ0YifJiuzxW4+9M/S/Tm6bwLztPW3AKoxFJiF7O8mLAqgQ9raD+0bFJrdrGvhoceNBZUmFT+iT7MRzBfHGUm/v/ppbFlUBNTzGQmE3813d58NyqrdvJJMTF/7peod8xo38pEhOz0eLfqyTl+inIgz92A92Cv/ff8vZMjP8LnE5meJU58+qUgo7RZGMqLfyrZhb/39c/0x2UGITH+mtS6Fxxtx8Cz3Uq4vrxNIWLP6Pumwpo1LPpNsPQqfxZ7NIpbazCymOceQUdHigL2qRNwVXJtt9m7TBuTQ7gtAz00loz+sSE1ZZLsVDWK5nJnrBBDFV+sBlanI8tictx3Sf2uEW2rJZKNqbha5DvPeHVgnqIn8BnSToBxE16SeeWkdSEqR/42niDxqH5QOlAQIPjMHlQz1fnGpeMW4ou46onOIbEN6COigEQ9IyeJVykkViwruVPLUslHavCxWrIH0AhaugBD6nzduvSqD9HD5jkxPN6o40Iu7mbQmHcRm5gp6D7NrF9ZanKLR1V0/eE4Re/4/L3Yv2e7+w2Df1Oj6ZHgXwEtjHqj8E7vWO2h+k0bzC1o22H5aL6Oswi06++bet2qYrXSvVLPObDDq4Vd0t8Z3x+It926U1QqI2Oalf1gtvk9hv494te/G4TQoeUWB1NcCYLYOb1oa/o6WD1S6sj1c1dYad3v8Ba+Q4CM5+lyZrgVdTGRcZm/mLvHFtPNUcJCYAqc23+wd/tVig4a/d5HeP8G0GslxQ1tQvBZNwSf+X5yHnveBV+otNFz3ednf/LJ5maVSAnjY75FW5jw/gHUD1AXzo3emjd5n5bn5IgwsNZtBgIGIr7y1QY5XPCunZfs5yquu89GiMrGPgXOXLTWRl6Ty5wtuFa7OUMl0UUwgqaumt90XZnjTX26uXiKxkL42tmxFta0q3iTUbC2xMWLgy02TjoFvgiGrdgdQIC4tj8LlZcE5QzkCqY7lenvgFF2hoe2YdKWZDa/yQgMqWf3hoJmyUttgtZwyuMhZsHW/ZxJvRwzYSNaGhEbJizLTf+cfAjbcEAn1oiUHydCSfZ/u0NJBrtENlRPegQpqxqQahhstVwIxoP7El/B8nUULtPTpW5fsgP9WkCDCfwZUv5bCHb0vJGSs3QHpggnEuyS2Y1hMq3ayG/2JM1fIKVpyJFWN8sAgel0yWEFG3T34XoKsFulJ5L5BMMMEiP7c2UrXeS5PJjdX/uiOYIVwlmQjMjJC0ZCUqb0C5PL6LlZeAPmPRJFV8SNCQ/G6mNkYQpUacL+d+gFvtkDMqKAwGF2TWl73zgRVlZeojehhq7jGbzIYNC5ndDDucuUd9Xmi+FzVg4NYAIcb4egfhHcW/4IqI0LVKgrgMm4cMWxBtk5qBMZGuRVm21LY03l5rd8YgXll+7L7kp6X/hJcnGQ0ReaVWX7+jChMI0M5AKWJfqOFxMfYrROPtXWQ9n1CllA8VDliBUcEKvH0iQiStPGHSZj3+tj73gEwXHLe/AU/+131CVX0QOES799E5frweiM3PZlLnHjOF2NGsswBEdSGU+jIVYo2l3kVw0HCGR/bXrm9Mr+kHHekpgqIUULhwC0DSZmk3vNtEVEZEZ4QldvwmOFRf1WtJHh4eH0Orx4BzcUWvqDk8bWWq6madiTbpSw62D8LXstyFleUe8JmWoBb9VOGcvdRGCKm0yWM5DCaG3bKNZr8Viesf7/L3FasrnIG1pe1Oup541HIqV/KIMFT5Acu2jSVlAPsG1QXck7/eWQJyy94V50c8/b39VdDhB41ObMxynH/ef2hoddrWXuAE3vu9O1WL42JJPDHubMavJtTskRWB5dleVpNYQ72Ln4hQSJ/C4PuACRpBsojIod/5PqsXnq4QQdrDmMIY1LQPToxhhi3xyLPOnByuE5l22g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8007" y="1254305"/>
            <a:ext cx="1978400" cy="4169381"/>
          </a:xfrm>
          <a:prstGeom prst="rect">
            <a:avLst/>
          </a:prstGeom>
          <a:blipFill>
            <a:blip r:embed="rId19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 smtClean="0">
              <a:solidFill>
                <a:srgbClr val="FFFFFF"/>
              </a:solidFill>
            </a:endParaRPr>
          </a:p>
        </p:txBody>
      </p:sp>
      <p:sp>
        <p:nvSpPr>
          <p:cNvPr id="240" name="Rectangle 239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1QIPyzdgiLUyzw7mgd0jqO1F7QB1f63xV2T3YlMOy0zs0D81Ub6O/Vm7bR8vy6/faHEFgfVJtZJzfsDee5X5Re3quTDU/YhWrArv6SOPf2sO644nET5Qz3aA82cs0pGUQcGX08ia+AjSduKdOACHlcQszaFsuEd6slKMK3qzuaAQfaoRfInBTsaKZW7gpkweTrhtuqxpi92dZCCPsa8Y7j0oM0P2/gkciLJSM8NwHhVhgU8S0HGNoosU0MhFb3Zk3YzJku971I5rlroYEXPBRrRW4afXuNqHwFIMTTHWs0bSIgtso+hGmfHx/At6yeVUlQChSAvPYtPZjJ/Gpil/GJy3a5H/ta5gAZ5bFQ/g0E65aH3LNO1aSYkxmAJ6iB+SOSMzMhSsp3mWaxU8GL9A481GYg4GBI86hAzaee0rJu1PIkb0PHOWqeYfEm3d1feKaJTtmlfLFTO7v07NdK+R77wW/eKhbDGyj4h6GyYBczh/Bh3Px1wm6LpXqiU0YDKnjzSuHjmqXgtbYSwON59TQW0GUcMOo1Y38MP8wM4BXL+pLOoJR/cPq+0Xa2Wpa+lUtLun+fq4CLw2S0LduN84zaxRhZhpPhbIhWNmEGX0OYdtZBMbdqrGwfPgNjZXkPIc5EvQ9U93nzXeOBOt/Pz31e6HpRLp+59ScKqsuJTcxg6vxWnqrRe9MIiMKwiUsWKigKNnSaXe7+o5l6lnO+mlXvMzrLRkwbNN3ABuhonHtTIcDFy4YIs4OIo4XPzFDo2DjtEWwScC38A0nElggv7o2S545lAh1ZkAQ9sD9BzT2oNXvV2OiLIEUr1XQqUJYn3BZwv26/5p3kvtPjDgBhWPGqCnMuSRF0Uv9JytwAxLvENuptGJ/lzSzxoETme0WBw3yY1WIffcx+D5hZ4Kx9vdX2Es54i3FribqzmaGUuajnU8dRypqeCcuNGLpHKKwC4yXC5qmT3ukGtfFcMLvLgmQ0fn7cz5URwFIiHtG02pVyoRasloWCFx4Kk7Dro00YCMmqxuTjyMbrViXtuloLCEkOlS6gLqpZmUyrBTSNY5jgcRSvSQjN/NUQhBwgrTHbtP+y+wBEvaXY+pfrB2n8cR7z/eG27v0SiUjikLINsddCkL2xfncfrGatHI+yuouvYhKOhpjAEyrLTiEmXD1AMdM0asE++aGeCekKY6xBUu7I3fOwUkdieJEiC+QQpPu6zVu01T0jxu2IEM4w867HqxX4EQWoRVjTgGbpfndnSzmRXf79HeZJeQ1BOEx7TTWRlpM49oYng3g7x2wz5JOAKjQVMwV1YgWssHAqRPdGiHqyBvgPuYLCTlShJVoDX1UiskdwUcWfh82ODpxu6V2a4wiWkmE7FprXbxo07EYbyoL9ukH1iaib8/fSxYM+T8JIKpD5fqELfZiA1ZUZxkjsf1lzv/1EBbU8I7sauSzf7TG49VH/21cvljur7ympMR4l84xY0dG/yuSZYH0DAXH4Nu+RuVJMnhKO9RHUbzwatFv87HRTs/qX+ZAIETckY6aS55KJ6s4P1acPU9R14lkCwLTODooGZNaBUPsKQTUPSLpqlVoXto8+wwRnFkbuXPzr4/JfDsOrvkt1o+4SUkEWLG6AXz+1Y6OVGyd61kLs8yNU8EoOcXwVvR9kqiWzSo1Gi3Fc5RC8T/9lfiwCPvmgZ/3Ul24SPrRi40y7cOm/WOl4CGHBwNgQNyB+qimtccN51q1l6iS0Z33akh19ehi/hj0qHVgQ/LEVX4afHYqaEGf5++oBGD9mKpu/ukb9tg1ChJOc6hSmZlExRhKSYswPLNWvjqY7yBFeDnUwNWyUtZlWV/vCJa+hG3I6jJlUckHMAv5CMPbT6n0y+5xJ1C1qwHU9NsTbERppIRoR5BK4ngFgQI2EQccT4uaZjoNhNsvVh8l4kSkywsPyrsRrld4xHHla8uqCJc3tZ35xO4+4rSUrkWPsyqc7t/0jsP4lD1SL11H33W1VCRADiYFKpWEYARk5efHM02lHdRv6CJaDDhcgyUYz8lSbNd9WMSi0jGm5YbLKtYKm0qn9jPlmgUFqRKWpmjpf6JRSBKRvr/tOtMvHPi8Mtn4khlTO05rR2FZU/aTT9Pdbrql0sof9EBHpjhQxYQSUjP/ikChZ4ZZbSFHHvVVOEDDtO/fScQlKkDjzZBb38mzUhXudCs6RFq19QuOoRVteGVFXWiJb7RIXu+5tmr3O3lmZS92zme+YhrA1wd8CmWORqP0CD+jhBtr8NtuDoojKN/xW+x0mUOoMyL8vP5o3ekdyvmEsQgVXiyyspJiCToWXUAqCaY5Blrg4wVM+KsQHLd/KEJiToePR3oVSFT+fKSA6QBmDHSLpASma6ugWcH0pALGPAkVCXRueKe5PqhaHh4w9ioK2/OrGFk6U+6P9pTYZI71c492X5SEVtRQYPhs+OyUMfEO5uNIbpMgmdAMv9kntc4Fh9O0kYWIUJIvR+9CrG7zoEi0wYey8mZ1jKsqHZ/NwuPrl8SnBA7Y0zTkSvzC4neDY2SpUsOP+vKK4BKviDUcN1QVVdiD+t9dGcpqubdUZ9DDCvTd+OgEBxNy93YH3WGFDgQGyXzYBqGqgNI8I01yDKDn5nZSJHK6FMc1ty4TY5s4+KJhjT1vjFZbvC1hyx5bp4VLW6BOMfu477wEI/L1MZ9fJmLHPR3lonj5txkpQI/DX3anYU7GUEobD3ldm9ICYz5RfzTFbgR2AUuuawNjQ8fvBIR0pzBFrSVisTbl/ik09xEWnFW++353XLVc7X5GD1k8jQZBOFYQDrRIKvk6eLijWcOlFwC+fGg4t08+lAEQe6rlKH6/lJPTZfy+IOeoAEOaXVJik8xn0XYHX0qE5A2lfqcECF1jEX+0GkVCKAouHybDQtt1f4BmP1gRQYsPMmnXggrivVYPq/rxJeBV7+lVfVdeV9xZqP/OKnTGlGhHvCa6OStmSRAwFsHKenS2o97yeSVLj4FJjkK6qHaEyLSU5CoWjBp43s1TTGDKTMwmCzDMWREN0o3sJmF0KZGdqplFKr5CHeKW+eGjzPFupoSBzczd9bL6rkNn5TxAvvyu4g8X0TuOywO6C6D3d3zUG1riKAa+vMFpRxzIuXperBwhdQ/HrCMfGt6shDOgSP6u9paVuUF0wkZAWnWAiqi7RVMoaAu8uDY6yEbqJlJIPzm3+i2gVTpQrnHrSqzYGC0Mw9ITMl59YQb9TO6uk/zQAKOKV6OkotMaRkMKe7oc+DlVfFJd+gPigCCrSwFxtQYmc+KQNPK47ZNrp4rh1/mNkQitmkpLGN0hN5NZ23WjSXpQyeSD/dXuf8UM6yQULx4zXug4ki9+rFxdehLNR8ncCI21FMwKZz9P12e5vjxCb9Vbp02mWcVpX3Fd/EZY3wWfSIKO2JotnQQHVMSkuo2zAgWNE3fQtWR96Q4cm55P3oAJdRRkIqdMvEUhwdOFVR5hu5S0C2l782ThhZI7aXz/DI6ugq+U0vOlpW20HGZ1fyxnp/xnJA+I9+ux95UG2ndwKv+3p1JM5U7ISh4fYNRS+1GsBrp0EQzqm9OsbNTEdRHpNJGI873isKVE5V+jEW/Zk5jism9NzzF/U2OmPfkS/yhxy/mdBKA1shkJ38PIa6a+Cl1Hcw/CpyvD2zzmeTEwtIhhjGwZBWJTge/guHNiSMHDUkXOjOgxG16gc+nt7FMjhBlJmiKiCut7LGRH2s8MeqXM+yq3NZr7vfsUqX5wDTXi1e3lwabbEbck0tpi6NkegF57gbyyvj7InnJA7jDn9ILL6iQP+WXbFr1ayFrV5v5Ay3ATHrBTHS7zez2jvBuz1MK2tJz4+U8yoagfYelbYUoIu3xEh4mE6UM75JUgBeEXJ0ymovSjqR7rZfsMokLEBgUWLnEJAmXa85Xh87pYyCXO9VASAx5eXuhN2Nr3B1hmV/M47oI8Ld99x5wkF9VUafdUfK0M9+SHvzo1chiPZKtiwYiro+b73opzQwYgRSAP8NLTk7t6Q2hAanJZU1n6KWEg4sYCh1rxOYMCYBaa3DvKxl7x6jUhhop/mTzaIKasOwFGdo4mIv6Kh21QStL1/zKGn+NRIkF+1HvxOM/kmdFh7m2ifwbD5rLUPh0AVatbZ/p3lMh0kmZOLKEjWS89FlWo5w+d6PgHHmWvPJFOVYgFZxF9yRRU3caJvzWkFT3ir4k6X6U6dNc3jhj9sL3bKnyHIMHlJixG1jBLvaGaCHFRqy3BFp3arMIb8P4TwhPcKiEVVhabzq2km3zZE77d3tEAW5eH0RsN1aZcCL3ftfGV3LEvg0Sv9qxUU2WP2sbN9DDLhHgvGcWNk24DVQoB4777yLtMk/FYJftQfCqKnvLfbLMf2hjJh6p5vagktWooh4D1td3cbduKQtBHOUVgC6mg3Z755IopDVQoHGe8T/sxYkOkenjbRh7zYFLaVW1/KC2g2ZnlGXAQ9kvbQOolbnj1rlBLX31SbdZnplvbOKqFr7zsM5wccoazF4doDMfAesuWchDpO2xvfpbu5z7Os62KSQX+GAgf/ETTm10BD00WTjkCtwHF8uWxmWYek+KPh6zNDL5XU9GJcX8l3bvd/iAEjlXs5RUhP7SEC5NGNti6sf3idRUxYcyL/xGs72FUMvWcOGK+2MVIMSIWqgpfGYDxf53SkH7qysxjHHab4qm8l8l5XTRGToy/MSFh0l2KHBUu1UxCaO+kiRVgZmJmw2tqVffKXSLFWTW9a1/QUakdM1SDuZ+ZnPNiZ6oD5AInChOKoSQick0d/OSFY8kGbcZhX+p3pRiR51KGDHt1q9Qk/xuL0JT0MfZL4BffChs0jTlIDq/+O4G+O9r8j1SaCzbj0JUIOD/ktg7mlYDI+dXGtnZ1rgrlKakCUU9tX5PIJE4yjFWiRtCssxi3VtS6Xk6yHKowD90QgetqTUOjZMbQpoHhozNgxoFGosPkgzk+bj4oms/LEmKmoi3ziXv7dKjbwR6WyYNAbJIt8RBypkUeRkfIgsMBFpj5P3vC0BWs0ey4uHKWOzTS4Q9Znqi6vXXJ5vyr7XEdPNEmtwJLEnVAaI4i3aFVeskww0ihm5PflRLZ4XgIl/LiIgRpp/+7F7ipKjEav8M0dAwIjNoMz6xHRnRcyOy9WsKyhkibInm4dhQUuxGLJ3GxKSM1DM3sOr9dwHVp9jdNm74gVje4Y73xuhI+zF+CqgRLPUYFt58M/9kbWudK/KVIbZJ6Dgr5T2YOc0/WzeYvUcCj5GsCgvQYSRXtmQ0GTTiZJAaZbAkXoj9P3k2EvB1BZF0CGiDY5LCBpQzlkW4BLt+xfXSfVNllTIWrGEgQM3fd+bSFtCbVZ3encq126mWEOO3CwWJ/D8Wqf0gsOz/A2tjHFQT+A753tB6G7nuLxFqjTZyWjXRshVQi5clpZPfRjP4CV0EopMkSTJxUlGABVN/nheMUKkemJ7aPdZOCjl61E1mU+0+8bmFyhm65sJlXUccm2JSFn+7lqPqTRx9/JdUpPU1vk3KtmGSk4ioU41vcmoIbTHdLtG3jQn0Zw+GqhOAt9V+kY43+PFIXgYC1eQhoVmEJJy4YNrbFVuNHO4Oz5G31IG86QWaAdBdzVoje199g+SyKxnAmzAAXP2HWQWwWnQLZSoLA8jHYwGe2W9uT2Wy+uAZETq0iwASZAcqfuRekTusHhIgmZFnPCOg+hzgFXodNP7W2E/r+OYGXaxpknjV03FD7MF5D2bLBpIC3W2jU0dsDAEhAFQlWoADgBOuN174T86KZs7p560yxSSCUZVeJK/ZX1IQhMm8r4D4V9zPtEObGi3i4wCt5ezzrLAz28ApLv41LtWl3QD++R3okY6qbqCKCrN3yosQgtUdyvWl+pxYAgHTU2G9s7s7We18Uen50xCEKe9zqil8HVd2uZtitT9pu+lrr7R2iWCzy02pALPW0Bx9SRewElZuGS7mHPOaafDh8pbsq8K7x4eh5Q27bhGoze6bmm9vyNgt7ptV+w6HNdB89d/Lr1A2YcnLeJnR6Bh8Dn2dzuVL81v89zVnwzz6550U/RYO9n4zQ6UPoUhi3pv3qRf+Q2SAvVH5SRZS37J1Y5/+nqC8MaAYK7jU/ysP5VZrmd5nLu21KqBuXWGBxb5DZ/juK5sOYgLgZH5LMbkRjEVEP5OjVPOQTniLHbIt2jebRtkUFmjLJFJ6UVCc41eyqRsFJRrFNayeE5cuXtZ1mAwMMefnn7NVs/rWWbGG/sq7+QBBbHOYTAdf+vy+XfwZNi0ra/25+hTB0sgQ259+79gPY4BUYfk2IPiso2nFo0pQRVaIYKlM2q3sB9Ekp6SaP/wo35RpBkO0SEgVDKt2LFbLwxE8bp44deDsZY9783t38ojixE0vKOv2pom2VGjEBd9k/06Bp0TdsaCBQ9OGJqXlNBBKZVhAtgoABiS0o6trZ0CkLyxpR2p3Rd5CFd+gYQ0NBT1vFe6T0iAht7NgkYcvSE2Vhn8gCFrqgO44cqp1KuR+XCc9NNKs2PO5xDjzuM+HwLwx2reBOVbaH3iAAzXtQStrYFc+XSiw+p7s8OIAEchV2wbA9LAaKHS8IEvztJb/DQVQrLrL9ENlCp9FLR+jSnMnU2YFTmVdMzYZJeod05uSr/9z6HY1lAg7DxlYm768S+OjC9as5BpeVuu3dcOr0y39Lzgwyx7+bFiOo61PjF8YmvQxvVj4xbvoIizNbnbW6xSd5i3TD4xbEDPgGcLlgI+sE1owo1vjzwWQjS/lEmXpTORMAvImqdX0NDXba+PVNbk4v+O4qLJSJinN9SjUpZj4FMezs5iq8ySiqv0FN01WpkmlHclp4QtiRc57v8gpNm3oJ2S/8FIlieD9PswL7qcf1OiKR7pVS9LDjzMPHJTFe2QheclU4wIJRLcwIdFzaTuK7WdZ7poa0FCsIB65EfKPlX2p1VeOsleYIrNzX9hMhFqWMG1ahoZpHnEso7bl+pO6NpOlLatpL0lglGrjV4AQmtyAVQHMxzvLd/Vc75qFWVwg9GCilpAVzNvgvaeG6fbgtQdjrh2WfTWMmsu5G505zt3sJyi1JczCZSITL4ym7A5+VWR7jOEW3w52xkY0XhjUfRHgvEIR1r5gdfj7lmughDe5QOv5/vAguSBKPUMe+hhfwUFuYEDqvs1D+2m1Pc1PAtqGqmF+FGepJgcadw6QjS1G5tZT81EFri942+XpX9rR0ne+6IHGCqw7D4SR0lO6uBWR8ikoEU8rIWdMrCoEHPaQHbFpwt42hKV5njyQZlE1IstoriMMop6n9GYUtUp3vLi+xadqtOIg9KYshqqVdOjQxKvZgkf/jvOqUqL2yFuJwlehigpyVJrkLCOIMTiqvyGiakLUUj5b8aamDWHyxKFCzx/4VJrM4tt3pt1qlCu/NyVMf1dOrwiwu5d425k2+6zUj9EwqlygR7S6f1b9wGyErgyd67Yg6GKr9z21IBce993/AAF9dqa+/5g9zNjlURLZyQOcL5STmoMWCLOHl9UATQUtbbpeO74auaqDZjHNumNlJMu4UDDhK7NQTllofRQMShf8nygxTrvQwc8lLhWVBRC/Qnaz4utcxqMWjhNWUX8RHuxq925rrhsTCVuEO0pzC5gQXLPr5rZ2R/kUsLkxq2I0d66dUmrxFNm2yTCoMz5fxoJFvt6XDC/JDFmQLy/BOWmDcyQOepumN8xsYhoC3NVSI5Odd3GuBeowd31LX2nFhzfzgDqIXPhMnm2wJfO3jm3ndgwDLx/uqJMLgRvGKODuh3lQoyi2A0lRzknhY4VphPMEfctl3I1eUVybmBfWnNzR+dewQFOQXuRmlYqSCf8Nm84oqKbwo2ISgrJE9roN2pLM3q5/hUMWR5L7kR/VY+K4uxRGMndXBEE8Wy2kxwY1HGJJMr1sH/uzWFoUG1Bbqe9p4JAP2qQhhmT8S8qIwtfC+g7b7llioNtnQZk7Q2k69SUs96cPfebX3pPGgvN7X3PIj56eOsbNKsJozrbxlG82p1VacBEehlzNR8HNPNZxJLy59oxfY0KgL/wuI6Z5Xg9jMB9BUkrFr9qu6kV1XZiYzLQJH3n7IdjV1lMg7PtAl1q97PizpOiENkVx1p9Yrq9mDolnNVGXWMzw+JXTq7bPj5+KLTIUZZLR4zTlxQYRA3VAKj/Sc8svygAx6qgOLYzML+Jm2hqNLEPXqTIjUWMU1jSkCFfnvW29bPMO3Odndk9aKNBlbq0nmdyPMUkcVqnAZVGI6y5/shKcvlG2QZEDUjelZLIzB/KQ3E+Sa+k8nB+NJNalITlim3r691tiUvs0A70pyGb35b150mu+yaYmFSWPT4zkusa39idMVix2MnUIIIdQctYfQXTzGdVh38IGHxMrVtPuUt1ZJTWPu2INAtvxrDHUZZvQbT/KeOWahlN5/GMfEOnldSqwD1V/8d7qap9B8gUEoqVNW1LW67QofzeLq2sWhY8KhWYNd8iWKCxP4t1CTG4LiNvNxRlRldnerS3p6z/sL1QFl/7mfuU1Q1Tg257HDNBE5wwFzvfOtONAi+onRC8yOLbxO81pJyr5lZ5Sv3jc3sgRkQ3P51Dxrf6lzQrq5FwgbqW7BG2jsVclEEUJFk6Q27DDPHtgDfW3I0BJBmTlDKGz+bIYCc75Sjp2p8Lj/swO3M2d9rweXesFdCbeDexa7tJxBT/vL+92nGoqZJmCXT+nX+tYIVAhLpd4zPsHO1CmOthDJGTTWsZnbNljIQ5I2tw0MvQGvVDOtXBseRup2swwKhvdhqyOzZ23ILQ4po4vmuDcKjB1RDORZ0X7PZ6s5KfsoJVqBentnSpOwtGsbq1Kx9NqL7QTH5roGHUd2ZLhk3QkY75Mk+7RaZfo68GMIQJPkGxzYFaYPDs7JnkUVK+18bTbOK2YbBQbf0THaUTS4B/c8KrqRQvRiVHPzxbzzsbpixB42hfjZ0Bb16bmnRgcKMrnTr7krD/6R8eZO/R7LdYc/fafBmQTiQaxohxNQF/MBvH4uDZMhCBysGYG9J3jm65Skv/eGFnXf7uzf3djZe8JRGpgYeTHBljPsFdZIpetTLuBEy2oslTfsZUW9rqeqOw6sY1KtRZ0JfUxEYsqG8urJ5GzBhqeMTHGMEi5AWxDId51EW7yHBesxxkoi8+QJKblB9OvK8nW3ungsD+eq+dOakBXV5kC3/iohmDlEMJkiHHWv6dzquBFN90GfaAEmlzkfPnLynmljQkh8JWIlriPRCAoG9xlOLJXZEc92rgjU5bXaCzJJxpV2HNC/h6CJpY8hmtMHPxmMPA6LkgNYxSxWPtzPJuc2qxHEhM3xrNaDzDqMJo+m2BaTY8/MvbK6qCj2vn2GK1fR8fBXkApfT5Ii+ol0O2WsYH4IuyBl+pM21lwLunxdW59nUwl/XqAUMX3mWOowAOq6xYQ25P3kc8SjuZM7/jwyORhDBBo2F8W2HyT5lPeHFTniScKruJUEOltLf2WMxGFlLJWXS8JcnL3vRFOPVZ3apcQycCksBa5mEbXUqew3nNEbOruWhBGaE2eGpRnGKkmzKwrvzdV2ZH2hUHnw2DDqABYE81vCeesqzzOk7or6BCHFcfp68HGewGJlmKQf9XRmubLRSWUzEqoqz7g9E6Vo93vXsq0zM7pAqzTA8CyyhoOfcM6FZn7hV+ao0PDC8NYznYtk+/MnmlcFs3oEVarCZlCucxq24qbnXDqNN8AwDdNsymmskOIVnDPesA99319zvM6BLbeclD7wGp6cohx6unX0KD1mBnn/Jn5k2yauR0pFOeavLlcchgFIUFVC8UL83pbSRQAS4ljA4TP8pEc4Xt8pAWnXSYkdGuqvU80F6H8KzLHQCkJrNI7B96MpSkbFfwQUP/bqwwaRSjyqPd6WmH6abonJOXUPqp3hLl0HKXzsGM2rAxY0YzLWUKpkhehwnSzrXhJalDjs5Lhj/xaMTydLD5O1PIvSFZZf+kB2LqxZlD4a+fdibqyb4B40xZwJ0muHm7Yfwsjldwf8aQtTUFpNE7ISWAV7PH00iS4cgU+nYo1pB8+DSGq/hJepzrGBvmFATddNBSzNH3+cUXhfrLrD5mX8Cb/BxJT6cuXOr8/STrYccLvL7YA/YS3K1LKaJhlWowG0rPwUEAAblyUcaqStnNUymF3Nrl8+2ZxRmI0eFqDIsOGdDOCARzDKSSb7CsRIzqlWLwCjArMpI7NrzJWfUUaDG1aoPqx4E1HPvpTkopntvOfft+Q6hVe9NiLj5V1QEge+FArzHfl7B078VXnJupPjVLMi2Vd47vXZ7dANXmbyIFad/DdMRavhpXy2R8isw1ZMCSiyn8lWBu5OhiBKEKHcVHBoWUmNBJrd1Jzp4RorpRxznq7JpXjPt6bt0e+4ja11kSlr2Nn3Zqcobpv4eJXt7DsJhOaJgqMA/RlPY+Lvm278hSHA3w2kY1HfM92PvNivee1mSCqtlvJe3ue8o1lxPoel+CIEFtsFAS6kIqbChTKpHOZGR1eUfDO6d9B5cq5Axq0ZU9C/bvGALr8uCYlXuIZJMCFm+AhvU076p4K1c7gJncCgbznDovEb7ZGwMiXp/9DWjdeWHs20OjYl+9GLFjbBoBGVWR8oZl9CYokuDD3US7lQEHq9DRU3FsojNDFaqPGOkv6NF5nuAbmWHIKi9ZlMERPSU661zaFftr2WdkmCnqHM94cGUoT0PEKmcJJE4CZ2N2LvN735t6agn3Fo2OZQeRvAO43jFNSHYkWbl8hRnrZusH85DPY8j6nLt8T7FBCvwm9rQCqilB5lhnL0/d8XPJUwVK1kLy8VUmAfUSSCKOBq1LQOE2CHnDCU89hBMKZ8oeFKWtkVg4FcRWPpaWc+YNwLJLvLjyJfBkeTh7QaLT2lyGVEJ+I+pRlLbrdlxZUgimd/dIL4us20dqgqZfbPHhel2YIZ7aVpDi/Uw+GiEVEkhCNwqros+EzQdCPMaAqS7IjXP3CHm1GK8CaAYwzISUt6bHiw41EIlOwdyGe+16A/BUq8CJ8fc28vAlZMZUkrkCpeuRZ0r2JV20yEm2WeWKWs0tb9QQQE3C98kZ5oUHksxnuX3++RCubINtAwrsX2JlU44NaeXMVSqmPk4yiX8fWHc40uy6XG+ez7Q/nI2VestjOKRDEhLo/8FIvroZwncT7hU2RFr/1FH2QA5kj5LgxYjK3uvUJHQ76mXYlAqRYI9buPsbIcufWdQPj4c5D9dM3Z1hAi5ELqqMdVpIAeurE38Vn0vqO+1KcRgjXa87FKg1+CjtgRO7pqaUi0Vih6awxFqbenwcWqVZukLd4QPBz4sbdmiPQzJEDW0zbHXxa+XXuvDELldzSoNV1FaHL0E+sEw+Cq2FOsEg8Q/u53JWMn/m3fXA2E0KGyWuaV0r9hAhlVf9H5Mgp6KzJX+Z85wCY33/I+uflWLJlv5NvKCoT+T0Pw3s8H1wyFuT2aXD91Gnv8Cn6Oiyv6IxeU9smWpi++YXir0yrs8cUP8zdQM0+Y4vMh8SmZOwe6e6uvbGDCaNY1u6rqLFhFaJZqN2yW6/avBRJdhsD8ikGSO1qBSShAdeBafGn1UkzF0H9uAPT8eYBOph9zSxpYbFM5AA3Q+dyFCJCSNrTVTSOzD9JFw9TvIZ5upTRx0U5lwQZ8HEVBlH+FHV5CHqWSAduws9qULQvQ6uw7wQJFeFa+e3Oz4iZYAVybuAB215uc482h0wFGN3Ivq51gaVFc2j68wc6cKe8YhocA/NZylHT7nYRMOM2u6KIG7O5arLabstQoukCEijZj91Opvuo0853Y2zj612Dbqs603bo8sNqFE3/Nexsli7miot96R2rM0WSSLJsLpfzS2A52FhFDxSPlezlYeIIayyk/jSA7YlOgIiS/Ps51ft+K0o3++NCO3Aq+T1jPbqV+/ZV51OKOm05J/+BxG2EMj48zpgQP5oceM0RPqWIAJOjzQQGcewz10pMFNLrbdqAcmU2Tk5J9IU2R/lfTNigQQRXeH6LJNyO6YjV/l0BrvsTZBpPWRgX/X4CVbSGGTXTGVsPVNXhVOIxX/nU2Hw8N7qQjpkfrdHe+r0D3ST1IBfx6nRt+5I4w8AY+sxg4mHzHgbl83c751LzkFXEJtVvlhMx4Hw8l14sjumY8+6pffk1YBFrOApMAaD/Cmkl1dhUkEYbk5Tpt6Dyg8W0nlW9BwDLqXfKOHL+p+RcRTDr1iv8ZoF6JH931kbRunGCfTRmrEtor0z4mmGqH7DIXuXemLXvaoXAoNGyzZRxoeLtb5x/DApsvwZ8y/VxvDIeOnOiFNpNHlVAs1CgY/MBQqF6xgQK4RfKbOfacVw0nxyYAf0/JoaOGRboQrzhtsJ3GtzYYq05c5mv+dfGDsDOIUWlc85y1jJeXQC2Vy5mF1Vq/Ri+vNSrw0Qqk6U8JGKocU6aZjIBJg6ygfH2LQbvLGEawthsLvNlskPNE3JPVlSzQJjuBrzKRmkPvgbSu37QQcn6isbBgWkjjZln/uzaFLuXwVDFkPEUF81k6NanpdUNkLyI4dD4d+J3ahu26aER+GTYZLTEx69fDqdWEGyrc8AN0Fl/T7SzGAiwO8FCkTEITzngFe+1b3ssiAh/73onJmrhC3H0Tn0dVR/di/x/8zu98U1VTGfxGnYoqgOvljsomWkfahSEauJqisVp1ijQ91EaScvrOV/qGSvw9yQavvaO+cKOaqfhVC/iVNEInbjo6RtsxG3LEay6iIs4GxcuqqqSvTddAoeBsqHrvElSOETiDLqW7u7+OTQ7Z+13AFO/5FztqchKx04qoUBSFIupEnTGNnW0zdnm6h0YW/ZPrmAfTk7Tb5MA7c8xoz26X08ReAvh+0kpk8fqbGIe18GsoV4NftbpJAy5CsO1oYTgNbP9wYi8JWR2Zv6wHxNzSMKYtP4qLWJwogCgL6IMW3fA8elEoDM/2wpkJHXej7qSQTuvYjCIqEMeDQhRqyql+tcVTXQuWEcTqkJ8Q/AXNgZ3X/rNJWRMzpiViuDgwdaAqN9sj47BGVkU9EyPVjQ2YrULaxqN3SUGwtWCHD4un6Z5roSBz03MOeC7Q63+9G1szwNeGJDor4FEsxtpWvl84X91z6hZlmJr7wbGVm5cr+lM/Irzlg2cNMpV4mizlLd3HPbRF1bqW0iyrLHwduIzPsSSiGdROumNuUtP6X4gk+ywbOd1tS3Py/Yd3qVtZoHy18IBmZMCe0D54ot0Z9hdBDsxKTVeNIkY6DDqPdwzE0CRQ4l9iv7w1LTCVS42qhSlEdz/7aZAyiFttAFgyZt+7FACYTRKAuxXsIUWmr2lOf0R0tsIW6o3aOC14kQo/TItyV3EQc2Wiy+6YQEbC5OBTNr/TyHvFEW2oCDvjev68Mq5YjAfgFPot6owqQrlLfPG7hQPpGk8frZE9Bv3EAcIaNxdLCOLK5yO20IGO2xMY5P268x8D2DbIrftSAf7R0hQyuUCWTI2vAkufFl1jqP76icHoRcn9mmtIoRfjHEWx/cHttM63TcI4ONQyuisdGcjKmHKr33cXSK59ygnjN7MnAqxjiWlHJjICpzklof2aZxJT/2dGTVaPMnPaES0AT3TJUggZmLVV2ESGw7aB593Ww1KIfPZ7A/gXWESHfllTVEtPxHAajmTcgFxHpAcER94YinwUa8M0Ld2BdhtCX8esjfSm+yoryB1I6xMJiadBIbSW2GZ9PClPCSApIGFI0J0M79LZDhErBAynA0kXfxwTkWOp/b7NSmQ80qDaADIVnv1AlfRduxOMkbMBCL4vg4RyaoWGZVV8QaZsn5Pk2+ZAwjYvvbXxGZdMSsJ7qeGREw0/IITZhmpLbXfRNEZqkJcscBuw2TlYIREy7k40OjMnPwNk7v3r8dbpB+B0/ROUhZkYh3LdwsRs0SkwlEwDvgpFGS/YkZW6CiBiXf1oeQIeU/fW3fL1YGrDe18HAPkvH8vXWONDD0adAdUD6wNKqdoOHYxUVXNbw+UxJsriq+hyAH8TDh5JpLmur+ZILiCBqddyJqHtZNLylMH3CIXMwe4EeqsZOXeOmKAqAIoNaNx7qynAIyrBU6j7QEPYX3S3Ec9xlTZt/LEo47S/aJAuU1aS1egTkOESWmgDDEFlygmLK1nOB66ouTgP0XX2crkOkgBK2yFcIDjI54Mn5KbNt97SuUo40VTo9oPA1e3W6zMJ2NMaYoNEVpygFmOBO25mePCgM6W4Xzp705UbNqHb6OzWVLI+EIl929OYYHKg4gFb3Sc2il0jSzlEqiYdOiKSd04UEzcYtK9b7Wml4Nzi/ddAogqBtDK2JnooskSvfmdJqVaDB2OLENOcqXwlK12x6qz3ewvlUXK75EnYYgC90pq0CgW93Xi2blTLg3PJG0xrCogCMS4YJmHmKVNPAFihOZimD00gyPTC9YTO2tO1OAC2gssW0yEn3ASYOnSwA4iZSjoTQ8CVccDHWyLGDEp4m0kIQtoUnRG5ezywD5jRl97XQGraTF+F5HPZtiRZHgvpwsN8lqxW9jXqvfZVw1lzxNaAdhOcbO37DOShzqODSt0rU5jkEPBRE/x8Twty4usBaONYtZjskiRb7ojYbpOjF5D5L1zw0mqVfQ//OfqDLtvZOfrBjBm+8gTb2+BMaG21YiaabXv4zlsR9osMP9wxWubS7OCuiLf3cSif3GeZBIGvrhNTURODFJ1+XPa/4VlqqSoFt74sNSo7r9lkEoqvgFJuV8Ebc3mkyj8C1Md+EFl8+mrQcLgsfUgMpy2PozsWx+WrMFQIhtRDuZx6z+w0qqpNrc9iM8I78fffPUWm/vl14ZqEYOvieErmkCbsukH6ItAJJCWPtg6xrQSY4ysNm7WwffbSXt9GlKRq21+fKAnAuaK4uAdz95eNQO3dSsrQsHK7ZfalbsShWZhjPp1xr/sgd5vNVSKrPSRRKYyNSTtWzQUTBNryiEmtK/0shstjJUQ1GKF1dHPZ3xlvLk+tczZrajSdBdO5UPY6K9bPjjqSRU2AH9CdAhI6Mi2j4NcPDBEy3RXbcI4sSy/1NLGZls3YcAvLum+qM3QkjzJO1hsbVdYRPrHXRqsWLBpf2sOnTiDTtPnfD1U7bwo4qnwkITB1Pq552OWdE5Up9k+56agfGSZPMh0i+hIsSxVYwy3SUfWOC4sSWnnL5+ac5BZxadv0fm39fwUkxQ9na6XZfeM+v6eiSvmLybcaZ2vVubZ0rr0DsmyDEWNfxvaEP+P7TbClKbotqMfoto3GaYLVORw9wGs9Bq2WQoJZy9pj/nvak2nTJqz/zqUPqoOxj/3cakQT/lvYghte6lFQs2YPaFFZKTUFP67oVKJjYPQj83jfJsoBov/NJydVcXiP+eCW1ns6thC3cIuskA0ugq+U+bEfRzFdpA5Ct6hMvvviHduMqYqxHBvv7oUV2cck+lKvpKdQwpzHktZBHQ3mUTkhoiMLidFNyMxgRSwv8+X9fDj8Kvz6UNRU+w0kgGIH0HTzF6YqYU4/fdGbGTL0ecNB4n8DKgsFpWPgFtltG/d0/nb7/T2atZr+deB0ZdXZlg/KgNvBS4AWhKwChs6YLjMgDWwKCynMnA8juOL+aq+IsbecyIQZkqSQnLnBC15zQueOuJwHiz8OPWUBBW2mSCJAiaWsHswzSt+WNoppqAMNmG3AvtI1B6vvW1Jr6q1ONxsqlhMr9mh97rRjkn52cgtjXfUteI8vtj2vSJFQjhp16Lfy3QSIT1nYLQJxvQuYOheT5GNoSgtVqwQ2j73z+Kr9dR3+ECqJt1obv9oMM5AWi15ZXSDaqT59Q+GpO8GHkxR4SA36oXaMxvodwN+a/qBVjh1iSj15FK3PI5r6M9rrM9JEsq1fZ88FNICZ+msSF39rJ1OMFisEwc/a9Bjny9pU0cs9BYwTonrO2Q2geDCif4mNuu/3r9wspqYnLpfBeKbQYQAaJYx4xk/45z/qe74sisscx35RD77/jWoEp4hb5ZY2hkyHF31iEaBvveY0q/qg9wkMPmyIOwjGxtpBgm9XZxM9b5OG/LShgBSQ6Pwb+zv+yEE1zE3anHcd4a97aVMexFB6eIk52JdKTo4nb17nLXWiRNvW1uy5r7Cr72linTYUwejxqxD48LnFzcuWqPAfPaVfaL03Gx2IZtjwd4dAAi66iAGpUmCB1ULrBmZ5RpQ56YM52EY7kLBuuhHfPzEOQIrGV+WucRFBE5+MsxCX7G5Zf15QbrpqJaaSZ8BL4npOCxQwpLAehETiF3Y9aRGSkxZ/NrJW2n4382D/IbJ1WwekdyG0zaQUoRcLUMSiMo52nb4Q/6hg0D+gFVklj7nLITrQRce9e+9/YacafF3dgNja2eCdTpxcxISAXwAi6IpgcugQMu/aQRgkHR7KImB1b4iyj2MZxfgMW91w8R4tkA1RWJfNhnON8odUpb7a25emeHNI+GY6MRxOUB/xbNJBpRWRo3g6qEaA4jHQivhDLhzT6DbxK5vuWWQFzE3xiimpOJnbVcyqdjiDOUmy3jrMbWzHnE2zfPe6oR32uAa6jCS1t6k063CS+I+d+LcofXnLdRw7nXZip2VVo4EQ+mY1Qzgz9b/IgDlUkYhPZigtjBzfl+d51wCgtK4gLPBJMBLaXg4ND4uvzjmPxbJNRXWmWsge1etwzfXlWESuBGxtHiubYEQs3EWdZxj1J1+o0LgmzhS0P0twxQ/Peb0PcUv6AiOhElIvbBVcXec948GQtBMZan/UZ1pnyUnq1U7zg/m67KnTdzKRhaB+CAzjskEcQb9xyDpj+WCxfegYPU7r1sEpdJooeuUgIMS+EO3p2uoM/W0dRq+258qDEhRbeiSUpS1PQ6eg2tyBM5SB6qkeTABsJJDoDz1WTeNQF7Vv4N0WLA5V0qQOdJpQwJFJ3/jS6+PRDL9ERdJG5dlE5QVTcjW8JQOb1zsOYvl1Gmp2JiDa6f+ft/vrTthEPGoImuFuhFwa1/dsHyKQvNnmnZwT3QiJ0N/YB8AfR5tasoypz/JoKOHHOuFaDqNGBgziAipiCCHfWGPxCwu++Djjl1Bva0lUGoQLeBcUPdPI+TF1qQuXpALW45pqdIHIcrxAxeVx6dOs7WqKSgakNC0770SxNglA27rebVViGqUndceXr6/SUrUD8HD9hiakepg/hwAS+zlubpxc84sQuj92qyHHlo+0vXVSGC+xKJiC087tCz98W872JnOHY9v6BLODfgAyAYbTIN2PUxkdetK9QlfDrGQtJYaaKAwBZ2FGoLEppy3rstYEm9DNZD9m3D/SfrlslpKxmWdo1BWDEkYIdFnbIPWq8tjIOohGTZ7fNTe36b0L4lwv/EsOiytuviI/o5yk0+pXp7wVsG6dra86ApT0tQE2Pg47VBRRGcaxB5DiM5R4g/C4KLhtvCgoLyRjjsH2SHafu0uGC/z9hK/K9rh9YfSeUgM1XbAfLgZoObDyoJtvZrPKAk3gRv4spRzmJLwC3toU61hi4wDCo6kjvFn7ldDCluIvtQIOcIKs1RK6OYrBlXgv/+9hr43bEnnsHretlVGqvw4jCv6y3QPIZiAqk4X/PGbu+YG9KyM0Ig6EuYw/65cKXn7k8GlX2y3iuhPwnkcYQQXM24AhviL6FpLRrz54PBlAX4+/47sm3VmqmAO1JbS2XlH3adiLhrZfuIVg+fdGJ/iOuvuQQCfJFcEUcSY7sbQC/F7E0Ys8SqalwIJvR3LreWaS95FDn7MRWi/Xlbei+F2210ilv1BK5IUypvC15qUErkBTbqmafanTGDpZ9Ky4Xz1svracFvdEpRwB1FD0arN+m5ouiC+wcRbIzwE1Sx+EKBkoTGSvkys1GpnoKOjD2ZhhX1GfMyW+y2gTcepBIghqOw3o3vLFp85u9dgp/zXKLPDDa0gHtvW3fArXwAVQuJD9VF/Qg5cnlhl+Ep9nvCRAw1TN49rBDHGuGsiwAfWjO2LBRqw+gFPyN7mY6rUf9BtwKI91CGEt3RWFlUR8SonfTis6k+UiAeFh/BgJbGI1jHM9SBCasafzIZcSlimpTb7nreHyJFuymKFq/m2PcBGOsRxVr/qxvMp6FMnB4j308CkwdYoJ2I5swarcfL6aBvkz9YDT+LcsmKUAsRhXtfXfX26ouB01OJBoxIuTrLS7dT1jl5C/JaFuLJlHmyfUMhdhxRqYx6M3m+UCAr+CuuRhYB6LrjRPA89uHfg6QngokgrHefDEBpz3ZswBthxzxIpIS/i0vibcMX1NK4yaksZ3hATV9eaRurlLIt4Hbzw9Dil6g/ATnHGsxbimulASgoDa+vL3+8cB5Yk6sWUwjlcO/B/pBmKxitFH3p0w6mt4b/IAH5oOUIgZm1MU8J47i6APSVge4QeSP1HZSoYu/3VkqppNIu4vwGPw+B47EQ8yyaYB7DtM22aBx3LpDwBJpfP+HPlyvo593gpkSUhUMCs5UYUoqmDPc/GwLNo90nz3rnb0fQJyaovsVnL0sN8K+LlmbX6RjgX0wZ/ZT2AYcY3ZlbL+K6wAWFdNASmwD7/UCGbww0kgNEntKM8DTARM3yMxuk54x7xWiGEcUSXFIpp1s0CG1HiDE1piiD7ZbHKi+uF0G8nwTwisbxXnUJ/uz/Iy15qjSNq+VCXL3nbThkesnh7SxvnU9mNxBz/Hlmn8skY0udvh75CKnsvkBXYMUSdak2FV6VvJd+Vk2Fp0q/anqKShmEPySZL9wMWo25mkdrP5xTwFPYIVz8qCT6mfN/CfGfrW1qCPIcMv9MqsCsF0o4OX7m16tgHkBhGRNzYtNvTjz9LgcniBGLO+uqAwlJm/qirjREfsgEIk7RoPjIH9DTq2ZOz/xrTNE5waB2sxtjf6Z7CuffqAazyPhnN6vn0zMGI+pFfA9X3GnPzgphT6Q3tIC9gZn77FFKZv7csffSpuosTHWyOFeUieYYiAYSOoeA+VHqoupG28MK/NiGSRvX7aTzbYwCL4C/ZzZBsWeCexCyX82kbwJXtdneO8Ps0PvRJ+qLwl5i7k7+zmXjsrLHrn9hxtPDw0isL3gRNImYDctI/SwBJyJa0xSUruT1B5N/Can3rNYuwl7g793ZOpdzQjMIpfoi8gddsNouH2QmyQjv1IaUPxufB9F+tSmfQW8zBVpC6RXgF0D8zZ7FM+SloMhpPl2voWFmpeExBJBqodyKTpUQM/3xOG7t0i+2upu18YZalDRQ0k4LPBogTyEFyK0L9yPioZ8TAbAAr+LRXvIXg2GLpOBxbcr0tjRs2oLDe3vWvTugjkVhkG77rRTfonTgfKw8qTjEh1AvcEebQwxobNyrjSb8QxhqvWLivixngUFPWvpBlsxxPdIfrk7WbqTZFH9UQJKiP/Z7cMYVsSk8qD4+8R1bqGR6O4JGM6NeI5jWHyzohvNq+9DG2xOBXkAdGBW4Lg+uP+mX9KnuL9NzLq26uOUTcVAdViNgkHajs19/K87mD1XgZFbB9qrhQvVlXyV1tSFziTMk3MJGFWw8rYcM3f6fpfI78H7/EbuLa5hnYuRn5N34opUsE+7nnR17Clsl0VDZz7ivUk9BkaYmTBiJQmZNQMqyjT+dJfi36SLjVTR5IXXvVBzLYSB1MR715zjVRji0EzZ72qeZoR8MpD24E9+IDWunb9PfuAhOb7x9RYEY9jqawk0nH4P3wDqIrOKMDlPZuqgNvxvyzRVXP/Z2phLR+NRjNWVZStaWhHLa+jnxNKJXpIQPs95RKB2CcjOhsXXqJxWynplk8rt3RKzKu3vF0naYnDrOGmaNOL899Wba2N3TpOtIgt7Qgt5vvz/40KCN2Ux13ujE9HVm7H8OWctWFKc4BLVBM2h8rjYsNX5aNkasazaUSWoLw4CDRbOFlKRwARJsJdVaf8/7d9TOaoSJqkbh4uiJxwXMlxqzGKQ8Sw/bEIrTFjPLCne4thOOk1OIXCTS1VVyKq4r1eHo+WAFMpDuoRtmRcGxQriFoF63SHdQ/jCfSuf1VIPLU3RqS2zAB7oRXItK6tjsEc6Ri4mbT2ECjd87qcSs4P0DwkphvBvszWY9q0afpZjFyBUN3x9aN9+a3Ms4mjuSIMEM5covIwFACOmvtwm4tlBFctW/KVt74O4NkkKrJbLq1VCY+t0/wPnOPT98UAa+d2EgMwY5AB4FFa2iRHjl4iRGPDt9OnIml0+D9k48bhfYzhfTbw9kidzYmxrDfJZds3CHghIqx5kvhCwkEeLsyV2tRSRNUz/9zQLq8B4y+y0P6loWf1QlGPjWgr20SDxifYqEDVPeyqP9tpd4UJMnKyALvh5IquDFi/C3nfrkuvJXLkFjnIBxmPLWDGpX5e8jtF/3GDfI4wQK8acfQVpQABg3cJlg2+FnrifAqapJcEays6a2rzhME0+ZfZ3wDWP7WNAmvvM71NszMxoIQWGIej0K4IFYoBS2izk+xL2GySEKly8YOvQG4Rh1d2YPuOVyhnrH6WBRnq8gru+F7ZJN1KZ2cyavYCcedTIOJYiLEIVK+T46A05y2PGorL2SGfQ92bs+hNIK1afUZJIoPFPE87azJesqxM1M+9JTibPAq3+yv8a8/UUIhSg7ftTDcpgkYBx1UYeLBRFqYNcnSPvi2fOHiobp4EjDZD/h0fbvaREU9TCZ6dFuyXKwtGeBV/aGdggSRiOmWx9322XhsbsnuplYJsmzvWvkKTpLsNImcGtbhWniTtcGrSXfyG/lJbX4TEqY1dggIBcCwGRlPKB30Uc+L73aoeEVd0Hi/dfZ85nrAF0cY5MogHgkxKocTueRytilIVYPxlkUypdxIo7Lgl2c8r2LifpQATQdQMj6RlfOyH0R/njhax4vIE4CM8JMOUC5G2aXoq/a93KVDpdOHh9BDNmxyFM5/CX/UXQ+CHaSIE38EHrnUyg7FR8/uViP7US8mt7Gq/0PcIlPUfzjzV7qX2XqqboAq4SRT74H5arV1WNDle/KxlIV9P3ldKrxLlPlGCFieMot74XUtP/pGXaGbyDuh6MThFCpGym8wU5an7lrHnN+NTRI6Q/PASMc48ggNykov0sQ+AbsvxaDbFURKX3CneTYVmoI6AQU4+fekBBNwSJljcpSR3nYLtOB6QOI4hMHPVs3C5Bk+SgHLuND4S2TXaBP0rU+0PWuyX1ptdpRBjFoiK4RzaWKATWxWQLJJKdHxM2y5frpDkGW05J2sqbgdR/llUJ4Foexo1OC1HKloZUd13KlTHveZrHC5Fi3djNetdv+qfHOKNzA1ySB7GrHCwpWvyq1w+dMND5ope0LYUJK87QtBgidodwJIHXn5onwAvuLUnpjUqV6IBgS4Toy9FMw/EEy4l+1vS7BOEZlmztraXN5nQ4ot53Y76kXYWub+m775RkBN41Hb4VaYU9LjCC+7HICvhQmYFICHKueiwnsW959LlFUPIYBrmcwkUT8ZjE3BepSqm5XpH44oQnaO+1TMKvTk2C8n2hqPgqBjtQLisiKv+jTO17WsZvWml2S9WGg1LcwdNbSIGkcSmD01hgzdWWWevC+sKNQzsyT6EOxOstsY0a9XgxDKGgAkgECY6mWzlTIKjx9IOgQTjhZS1TV2L8FSSyVKzoBlsQX1ii0xzxB3ZuQ/NNem7kHplhUHDwgmVcYI3S5qzt1lE4nOJBDa6JaJKqdFu+sGfKNMCHzWx1tFDm++Bsg8Ykszzpffew/pEl1YllCWVH+ir63ZDY8Cyy66G4qZpoO76xrs/fnN9M83pDMu0baoZG52Y9ul1A6rGWBHbaloJ8GRvhFXm9S0yaVhw8YMBhBYUi5Y8k+X1fQKkElTjYlKMkj61VO6cOVk4ySfSMNm0YUPtwLn72h7eX9cbpUsUBhORTmuMx5e9rDihmXlZ34jLv08pNduYihUgFD7pSpZnn5BCRoyRBR10YCWFhPCn0Mxd0LxFDSqYBJz5B3JJfFa3fxOvZwaFBuX/eUbaG/89Mzl2c5pf8AaWIQeitDdC+8uHzoRCqQK0YZECwgFsxE2uScLRM1rAsErQ+Ewdfu5ypy/PzhUOR3YruItfETvDvN5Fn20JnspqkBQe6cZZr3Z0xbjYDdrui54R9CthIcua/34Jiq0TCnmDGy5voQGON6NqfvYJVfaatpIf+r5/LrrAMRwSfdai2LDWEKeyzAtwyTz93sxfG/tdaLvuDy5sDEOHoQe6pYkeQpIoCSItIN2DhP963UFgw4Y6zhk/O6PiqYBTUheNiWliZa2ViguYSS3I/W2fqAY2Z9JEopl2lPLTLt4HqDKijgDT6o3U0T5KK2DFtrrmf5wZDAmFpYdted6AA3aDoZjAT/ZjyxmyfqeSpM6VDcXsqEavN2Tgufm/HGKHiBRED8SOtrr8gqx3phIW7SXf3eNDzlGMMIrrkpCZn03yV1G/dzB987LIIQ0WQr85s0Co46zrZhHFnb98lKvGPsh9aQvlS0ToDrcx/MFnpN5MGanI1cX8AS+se/B06BLIaiwpLAOdLEf6PQJv2zvpuFMBtJY7Sld+97H5r8JtzbKF+NEIMSq6hqp8IsqZRxlG3jZPJrj3xtGq3/9+QhsTvTMZugB91cmLNMms7OUB5/RDeddW4Hr/+fUKlw60rSrpJy4OfoZsndne+2bB9d5pTKgmfI3SNe5MQyOPDvR+atpHV/BZ5nJKtiR23ta57cOXFagEEpHgOjU/q4vWf1VkOekkouaZxoabRCSDeOiFje31+UlwPmxjCS6cAoFaxpiE9X/ep8BRgqgISOAg3WHC2CefNiPnB9BglvCJK26LXahP2Qzsri+ZqWXCtP8+ANBtH18A/tM5h3E3Y2QJLFHKN2HguCNMQyjhg25cEA/GgY11NuijzquO42UTx5qIvD75xovpv2+stAMi9Q9I6titAAlzFcMH6Mo82DjUGlADOwnpUIJt9i0BMRE1b0IgbgU1nteo9jBDwh8mptSFmM2IDGyLXyylYQk3qAHQxdDA1hR3JL3bK3TDi3UKoelW+WIk40w/1WMRQOvyklwwYBJpBw3XIg0B8QmRmjBKlXl9eNh+zgzJcJRxvZ6afZsazDogD/g2GkB1eOoQWvpUo7/iOGtaOf/ythpcwx7EOyvjDwpje/QdqUBUbis1ieX9kDG4wSNT7h1QK0I4Da71PzCtolEdsPoRXa5VhxzqSgiMw6+WJW8lpLTmoF9jcjIIFUEpj/GYGkU7Q51z/ImD/NkNnSrcOt6lP7Np4uuRieB5oTmONut0y74JNGVEK0XXbp6ERi2ErFa/dilY76kGNFwNMeA06zfAoihfO72WfXNVYNLxBC3pONmtfKoqcRA8bXrnOSvOWvXVrJgI/e/EkY4KImxzZHomR+QKfd3K4y306297g5BrDTvym1dRFLv5NK+0IZTVmfHNUVVKO298nVb/yEqQqBPcqIXNvwauCd6WVWQ6TvEA4Xp4vXZReuawxhKxMRXsVueBEhjatW1Ghb1Y+4X0Gt1x5z9NWGQXk2NMM0+7v2QNlplydzn8JNal5RsropYex9vZOWeljSYfc6lYIfmH0oknTf4mJZqvngmcXZrt1BaRK/XjzeueVAKdT65LxtMJFtXL/CTiO3nPikCHVLkLOZr3B6EO/tg5xNxkePGrzARU6bC2y6pdJKFNnQwRwWQBzjOHYBn+wyQcuN+kHs8bFKhRG5Pfh62rIM4GP0vFx1aSL/RaqCwgTv9Y/uOutVV90Nh58M2MgDpiS4KH2aiB3WS/KqHE+igOxILGJFZ4Sokuql3ikFMCxWGEhm2Qe/3Xo9RpW2Dc+oYLuVZ2PE8GnweIAz+Bt+MKH2z0+38NzGc/TuO/IAQG0hJHillqFcBvpYKNYi/yblC8wFwh2T569Qki7YNwjeAcun9V6YVYZJgmb5UO0XYK9kEjRrTdY4Q+HiQud6HdbMsU/10uvm13kGa+KZFD+wfrSyf6M4QRhGMYtEGovaL9wR8jPfX6pIOOuDN1I6yonkGGEM/kZOdYKECOhMMrbM1I2hUnex92QJjZOo0a/RcZid2SzM1p+QDUHq5o0iAnYdkiBDWJVMBCfTi/V6Q6q4WMLqMs4+OdZwPLeo+rxV0lySX9tlK70IpqfWehk7yuXlofltVevCEBuQp70gHH88i3BWaEC/z0i6oJyv8LB+8BGDoXMJSNbX/CjUFPwFGjMi9piSL6GOSKQAFDg56CHYe++74+1e52U6reCttBdGWQfpC8KTWuBUL90GmHLZ1rHsDpbM6LS54PcXtCr7sCg+Rmoo1AabGurjYrk5pGfoJAFxSXyU2Tl+yMmn8a/WMhEcYx0U4NeW2Z2Qk9IGknW7z9/9vpzCVtWVPglSfZLRHRwESAmnRNFGogEMB2UBUndl0b1DMpo23iqVn+lQ0chB0i9Df078m/Qe5zy/OT9UZcRli1mhidoE8Ky+jbZkkrewekiMUNiLJM6ujZnEgxr+JAdGLObq3nVNCgP1j5xAH7tV12T7HcKf+pGI+TM5AaVhwFMwaVkyUbUsp5FQuXRHrrHQP6/KWTrch4VC/t5TlYY8+KAy9Vae1ikoZS1WGt/dGcur/vuD53EDB5zPfH6cBo3ZSDtuxpracf9S/k34H/Ik7BOypSmLQhF3XKOygehbYgj01JDxUWU/QcUPIRDoeCkfq9t7nmSWeX2HcYw1x1IAW+RBEdlHI1e7Aayqrn5Sq0V4dWdZepNoqaIsXvtps+E8QaTWnxHtp0XW8L7wjxrAREFaB7+AxSYkSb+GmjtDNaymR3YOkYn5GS68ukYjmG+BdVB0u+/zDANbigwlQIBPF0rmfgJbFwlg32zR6V26IfmbHKdff7drd0P7FLgKYf+XFJcI4vnjksgh2j9bIAAWszYgu/ZjV6q3Tw1ojPqmiw5x5hfiSHm4o4vR6GNrKBRXbPzrAV5/LKE5rwOHhF3QFVVrpmuGWDamtTlB+ii9ej+5zejxvtdn/RYeiIP6OOaL/Y3/owyd/O4B8rTX34f3UKZm53G6pRXIlHAu2PX+S8D3hpP7f5HdQisXJUt14kRxy3ks6p8cPeFPHL4Sxu9k4DOOx612IuEYEUOFiMtDkvHu513mm5w+ZVqvIG8txdSGip0RgUK3DL8ibpBcOm6BEqZkrvA4M0T5ROYDm9zlbi4uqK+PKvECAwnfvWyQdVnigZNqAY0usKdlkPhkkL+zXhgOEelCYSeEho5thA3kwCgbFqi49YSQGTc4tJQs+j/RxBNIZkK06Uz+E8oepF0rj+qa9cMG57hFf1Y6z+mrWLJqEetJ1aXV/rp4z/5CFBUEhjDQiA4cTLw9Qyd5vEFrpvdnratR2iC+3XAeDOLWxVpH99YbD40H9pD5dX2JPVTs8Wjbob6VAsaq2bL5LSFTwmLjmxkifoARqRvFiCFK23isGwjsdWVcNBmSpSlXExRYT9Uquw4NrSxGDFe5vO5QfUz4//MZYo45McTUaYBQY/vy+7fooe/gCfIywyUtmv8sl/zD8014oj95kaqKI/dC4rfywjbtmVKybIKRv7z8aipuSz5+1WjCBQDXzxMzuDc1ZJ9uOI05sq/6DoA4jQv1Ewjp3V/ZJ5Qj2PYOENql5wZYl5d0bK0A9/+CrK18nV53NeqUmurRwHgbJVLhAZBgTFNwdxikGo5K4uFBPXs4qRYk4/BDIY/E17SDTeKX814rPwolcVVqYvrfEJElDSvSNOxFtZD28bYHIdu7cs0+cP1x63t3y5GVIVDeHefrKLVxoPSgKs+iNxBRp0makwNrr+VWht5HEdcHQF35nadFMAI7cNDZ7WR/KCZ9AqtUjiC2CCifnXyiRoY8w7Ln5N51KtshxCpv7FckbM6t5Y8lbzhk6mcIALLPdbxVvZhhGObAmRS2Gp1Sr9YrFycsLmsMM52sdObEnuGAgRjbAAlCIA1U88As8Dy1Zzu+8dsc1gy4J/fqVPXi9H9UWG84K7bNwG4qMjUX6Gs2/zEPvQQHDmYzRJnvoxmW3KAOjRtGfu44xtgIGwxU6ZTw45+XXatjwpRt7nELq/kwo/ekevNrMns7igAEvJZztlX3xslloaGo5nKDAlB7UpIRlH4cpzACuPryJSnuqX5FP0JhBWsSbgvqR5u4P7pWGm2sivA5QClvAqlOQ8YOJPXr0pMt7FsbmkDS63HEDmRn8aYubOGdCstzH3Wa3VNJRy1pxk7swOVmrLM31yumYVxuPX0VmZOQAA0hBVEf7DjbylxmRWAZUuYZARxWcFKRDLQNZ5AxKhQizzreWqFBg/xGaNvSl+FtlcsrtZEKgfEGVv3yUg8l86BcZXGcVIWTJP/g0Jhdx2MsF0rjptUTOx9hWXaazBJcN9hHQzAVYZGB1JD0AYtfzuqBa8RX6tto2A+3wdwhpINRXw+2Pa/0N/VJZA0tUyE4IapeAz9HHBpdWxPkN8/DojzM6ck5ShtSsYjhn2p1Aq3dhVyFKhHxTlFZFkJDUkuydwxvBzMPFmFnsRURu98hg0gf25by6YL6aAq6HFCVDogSL/QCRu7gPv7+wCI9wzmbrBXyQx1nki286DrPo4tHQYv9kcsVncEEVjt9iNzyJ99Xw7OSomI0+ALb4vcPtuXi8XQ+DeCPjG3iGur3SZmeWpR2XEml+OlYIsfTfqgiFw62iTWC87x2xK3CvmubWSlfO+J86HE/zCk4xOdhloeNru7aXI1Fa2K49Twt4tcbKvXMwUNMQt/T2dY0uW0WfwHGAZVK0lZT10fyVE7mdY+lMbAGcGV4Ytr47ihAI56erJqH/u37C7iKPyx540rCXbn11YkGbclYyHzngWxNywX/Mn/9piMRHUNrVeXVtItDt6VyA5lWGeOKKYs8Uou7/C3tYn727j6MZWQMKkeWUlP5+LEYAjp2xYXnUmsJdxFH7zv6epiG4YqrPT5jy7+NC3p+xPbHisD8ChR+eGpkDM2d4c8R6GsgxNbPy0GAT06MxL6fF7zA7jFtVJ0uZbeBYMDvXQwW+g9uOkWJpfgQVMoNbsiivxZ0RnbniU2qdW2U9hVzKL2Q/HnBvL8wSrfrcKTwsFxAYfUIjTYPHIwqIFyE1YgQL+wa+HwanqWEsUtSo2aowfqXfvBiyVFWwQgciEVyDyWHz6qLHb1R190+iGGYpuROIyqilI8t48uheUrJ2OjsRvO0/wXxha9iVsodsppvMZpQuPp/5/0bh1AZHLZVuLSW7m/GHEcIhca+SwGFLbqwAMpPD+s0D3cJCuMT1YNxHYpsBBLFUuvcEMQNL99g3IiYJ5m2CHcBNSzXcpF1QIaf+WKqZD6yfspU0oCQCxFG3Bqmt0CXwzaPtJCnuVtrQtA3/o6K0MPwml4IuD+jr5EFLS3ChmVMXvhuGKBaaj2mU4Il9Kds2aPKpH3WCDikWkZ/qYyOeiwZmnUvFvJG56FeP0kceIs3g5zzcoGCkezhXf4WxGPI3KYE3k+4ujl0xP8M/KMXrDJQdNRcbSJA4xpqMzHkeivNS8eB8mzthjPBEOtoPEanY5WS5mrgR9mpkit7EDKhFXpp+WrcwQXHLO20mZeVrZIPzWqeAQoWsYKepEQl7uOLaIqhifNuJOLkwCu0kpHwsQ6IcFZ8WLbacQ5J+7lAWWw+YmSZ58QhLz165mYSJS2TPBbhrzl1WaDWsSL01TGm06sykI9DWXHYEucqvWvyxNSNHrtAWlXzD3hRHpbL7CEVHqOcjUOvYwXQ7m0CrV/lBrS67XYl+GaiVeZt/gKKvgfa0mCxgj/S69K8UoIAKWIbhGxFyPFXW3HI0lRv7MS7UP4Ny4IHVy/IT3wp6Fyl4FhZyVPbhC6dgVbf5LErrQ2mMYwf+vDmrNWmewxyui6O4TOywGpXtu5mHEMCsuagbSdbU+DKKxzIi1MBhk8oIYL7ht30UhqUPVbiJ/h79wo1znpTAZ/uegynBWvBKD98S31lzXmoS3WXKmgbd3ZHXQpbRenckdgmvH3gLfBJ8PO46UnvaL2FlELDavTPv2jyKvvFZEYWd36vnSjsIk5rYH+9411kPcKQvmDpxF7szxEl5yCX+NuOBGvTjvV9LgFp69ZbpxmCtg262OJZUZ3YfdJXOrdH5sevJTbsResWm2vK9VcVhaRtvsKn2bjs+u8xBffY01hqrIDQIn2BrsvKOdQtCx+Yfjl6vZeYP+pbq65iQF67/q02ibJQFXKPEXS7aougdOJnfHlkTn0KehuZ+wVfVa6Hffe31KUtJlopE2iiXOmSdw/K2i4oOEMqfOq3eSnzcmZTTkDmJTB/LmwxuxoNyPjrhTLMGDFxxAi8Ok7Ss3oUnHiF9UeVjpT6mGlFa6TjHTl+OQay8b0nWMlsokSZ1Ur7a9NvKlzE0DSx2iwA1luhSzwr9FChEfVZQbJZPuKpV6Lw+7+vKLVQ744H0C0Sv0o44uCFEkP09Q8P3muamSLtP/t+6b2dH7wnvL3fk0JrfmhDtgHXNoVxxcqdxS5ORzmIvKx0uZiW8YaJCaabh29WD89qXPYDefCQKQS+g6Iu75SdVNXwsW55KE1JMCJUjNNBf1j8t6Tqb89svBqZdxw34Sx72OES/AMBfbX9q3fcg4kdJVugxQWMTHctXJGvrhDvE4WwIBX1g0W+hsNS1PqTFklJc7+tzBMHagkiyZVo6rmdxC0fsWRjmp2gUyRkQdCOJSV2cYUhNvXGnIwsxxT9//lPdZxkQj4NjhR5mWWx9zwwQtQr6KADjRESLqWGysKdoWJMUbi9fQgfHk7qQpRjDxnEGhA7Nl9DRjQQfGfw2SfnnrigL7Sn9Vl/Ux1AkAPE/0NO+eFMc8hCTxn3b4dsuObty5K1SKFI9TTaTefvh39NAtvqZA3LUKVVl7a3dEVtAuCtJc3Bt2jFMRGvS9LlnduMsdQyINq7x1bZ5zrW9Z4YRBeW9WzAfhJF9Y5E7TKKtXsTvyqmKgseVcT3UIbDpb/PBKeyU+nFXXdbZBwFqIqm9uO3jYmpM5xdqRTIK+2Ni6llsVbeJ/J3zvB8z9B8XITaax4mQu4/MpXTA79Yh9zyQRtzbq621StmM8MKCLYGvIY1e4VotR3bgblbli2loXQHdOsobF4IumCPgLnau6uDp0v5dB8E/yEG8G/a+HtcFNS/XyOipGZdaQH33WmCRg+3td0bmMUbfoqxZNgnDKh0GQkTGIUP3phsAe6mYBjp69Keu/GJqreuC4RupKNwrK/mW8gWsAmRMfFw/jwWh1RxezgxM7+mKeL7pU7v4ziFtLqYBcq3ljoMuAYmlXUxFvl4WkCWg7TdNdjsHaMRJh7By2Hai/u3TYcVqpQLIUxs32V1cYPpqY9dBs4bXC40ZrOwzagywdllnxQ/SZqGSvSgy2Q4ffCegUMcJc3jQDfcWeAvFovahRFOkBsam98nQx7llM7H6RTzAbH9f82JFcwwG++fIjoMSUNRx3BHXjLyIwm/VtmAISoY6lG26GLq/l+iUfMRg1dg826My/iq9KjQuhTbTnfHymDoZTQS4qi+5DuEUTyHKFZNMK3YNgVgBfyIUpFr42urFIXBDHuOhRDlR5WjovxfjVIwZDKoFPz0y8wU6F6VY6UjMPTm/32XeN9zlhAkBwNkltw0HENccLFRtEzZAFRmwJWnm5V7zADOoWIAhVariRb/CsEL5gWcYwEZg1q1S/u6IAD545sZ9TFBmp+V0a0OOpD3RUmzJA4a3VEVXBmvS6xs+yQLt6NYAw1odtJGDfOyiCg8ua3zf8GqAZLhMNphj098YPhyQJyWlleNgfVfacl+t8cEfeTw+Vk7E1mIPUhhxsVIzE/zAPo80geQO8DLJquRIxaKnOFKsUEpaTBnz0R3mg/+4tzUX21bmOMPMtZglTnx9EOHSAbOfPELLZMpUqcl5DG+NRAXpz34G4gNbVg8Zp4d7gu+d13cBkaN1sFFj0aj92uh3NMYsYzEweJtR7wDk55QnKT2DEU4TTSTbZbPR9qRc1hko2BGWzRcu6Xn4fAVvER5i4HfqIXEXh5vcrkc14zvWtE+syMhkCODLM8y+IZS7A99A3xuNNlKG4gq6UZCJTKQmjxWiaXNycIaBwe0Uj5O9NSpmuTw6QO0SbxDed7Yguj/wDHyqJ74GrQLXHQCVfNLNo6OoLEOTXAgMuEKmZr3o+tYZhqx5hacX4yV3FV0Xf0Yxx2GEvnFQBWSe77QviJyaJv3CxfPY1rP8tOovFd2BzzEWehfz5ATCOh3siekB+g4oN89Tw0PM/Y16PwiA7+x29rHzkWAHVy7NVgiMOYKFnxV/Yw5BVvocBIeHMi/TuM2npXNlqeziwxxHEalm5B5ESwMxq/OMNFfJBETPQ32Z2xV4OYfn6iV5A1iGJiy3vsZ0bWgiSuJlF5WvveC3R9/CNFpJv36SSGm6ybX0CmJeuL68HeAqJhLBsKc0TaruThZM4WpuS8Nb3Gkr0GjBITCqCYGinp2gQ7bBzDqD0bvyxK5CKQ3JZs5DZorqCax6niZJ9S4BTv2dIlgckw/jl4tmCyl9wY7ZN9h+0MFIs4IrneN8W5O3K2ofBOrvaNgLuzVQtvepgj99osK/q/987HcapXLfL0kjjseog1jzeJsFM0/pa2h1bWe55YVwidKFU6+3bYLEK+8oHOFSRWIQaEPae6Lnrm/QD04MxSlkAx3mj/K0QgfPS9js41ZtaMgsY6DbL2VQOQ+2tkJy5aG2y2ZKG+eXF5L+6JBNUgoxIsUn5rgw9c7UgwJ09lGFvTppJ6A61U01eqggNtbOQVoANQKFYSrk9p/tGSJcQM4+/bbKEM9rz85IYSaSLjPVMbx7Swye66YUUHjuheNVpRNlbln7kHc9qF5dtPDNEyUGvH4xm0EJjVgiY57hWjWdS3TA/kM6KF1Zmh/pnLqoxg3A7LO9SPYA9ElD6LCBjMEOV8wceK3T35U8xkyt0nv8Uh/PpFQgmUdDMateADaXLe4lIrqxjZxIYu23RRNl5D20itj2++Szx7kWIB1h/dm9C/UsauYdC+c5N2SJGNF39i3I0CEdaeyrZ90WFawiXo5a+CrkQPxIAPZRHIvuBRwgfGw/UlwcxRI9tl7zJZKnxrQCqaV0g5AuYFc2CHswA545TBbm8pEkH8rKKuXa9ChD3H7UIS/2qBaLpByAGgO6dwlwisSGW6yxEXGzj8xdwZrfDU6DmoRmKvnn2jG/QJ8Bb+JBB18AkM7QWcZdDsszlp70z3izP4RrPj6reSPGcmRxIYuHjLy+5ht+S2NMtZmqxC3KpRC6dK03opp61It3iM0f/6DeX3uYx+gnu0/vBYoxKr6x7hxhPX9XftEqLyLsVd6j+5HSdYoAdZieG6QBsxa2BfeYRi5ICvolbcMXWcBpy1i27zp1ZdaofMdpttwMXJOlZbtKHox1BC15Y/ysaqYW7qar46mxloFaKhXpoNNDUa0YvDmHKWPRfqSPXra2SwZBdV89cCyuqVnMN/MDSexMEFALxOmvAD3kuurhRTEnAj+XUWJFal2Vm4/9qS73Vu7JkdhBOvV3euzPaAAKKOBMJmZ10hlSF/RsSbr+0rRSZwk5N9HFzgdwA/gJdKEpg9FmZNT6p4teCFhoVQ3/SUfDEx6WGnzFlb2naair5z37RCs4Cet3IcGRmquk4cMDtaQwIB9KLcT+DQdtHZXlKeQBi8drRZUy8Po64H6DoApK9ls9dFHG8kYyv1TAJ1P8KX06GkXl9ciXG+qqvt6D7M0JdVyKz4CDZLCJPav0r8MnUoZPPaDzdTmrhVw0yVZh5kS/slwHtuZlOn0B2ACVRKa234GCLYSroykpHLLS6P7hsoJxtdkJQxeYU9GVx7CigHA+4Ax8+RRAnR1dskDY4EqMJULur5sfcyBo4i0reMHuD2KoENEFpXeofyM1EqCxaf75RPUVHniiUNiZNhy6EZAvB0M1pThPCP2sFGNJFf6+9cFP4zxhHA40/I4l0zh+miFNUBhmrDUQhHMh5KQPxbLPbGCzcFaNmKKlsG0tnVw1JEFxnDnmyHBYIivvwv9VS/lkvoIrNq0+FYYHB6/eVIAzQyGf89UiNTv0Kf9IzLluFzQlwB9Jrey0cSWMVATgyCUHFp6oE1dxlCidJqdppTVM3Bll6mO+zxWJtJ1/itoa80wiiMWskvvdvr/9SmoTlkm2nYONZFDgwCyMwoOYuOF6uKZ3qyV3HrB+gX3HT7Lp+8fn5i53LvMQtD1XM1A6QcvP09FKOE6U0DrqWD9VmU96DkfexSc6lGX25qqjdjlHtv5kQ6XURSAf3Uo7QBrz2VsVRs+Io5v7O6DoLcXmBW1qOvkC2stvoOcRFQ5zJkkeFOCb/9OBXxtkh8hX+tVb4d1noHpFZzbZn1e4UwnYpIZtkSBvEqa/d+olResn5J/q6tiWIwy42+xLeAw2Fyjb2Qs71NIzCEcUhc+8jWeWh5SftV9VSYojfIDvLj22vHFA+yJm67aIApakR9ONuhI6/gQ56Uey/ZoJCSLQaUFB0IYe7zi31wsZWVGNVs0ILbxo8wMsFs7vFqKmvQcjvjRkTjy5L7L58LtNofB5MDBz15Do8s73EGuZeI2G47O+82Z2ES3jZzn0wOkzqJN4VeseeeE07J8p8M7TyKUC6cIkRZZD9Kd+lP+GRq573vTj6NAGDDN7j8n4YqMZ7NScvF0z03vchYw+xbgZCYlLDTgKONBfnc1plijzvEoXs13CUqw8ssvzVInwAHyqvzqlCC+HpFyWBENu9bpMhQA8Yk2bxzATdvdkWeueWYcJXKIrnMsJCF9ykeo2SSwhKF7VgYP90820hvM7elBCHFFKeJNQxpf9mCYcaq8PjXbx+rHIoRKY2yyUJx9ycrGx85IHQVRTOqWxY/+GQGm/ZBRlZJdFUo9+BUibqCeAbSEV9C8Nd/Xx2Cs/6QaYAvJ6+KNvrhA9wR0CxFgK09ockwDlT6hkncT28+K+8BYG5rsahOZUO4n27Lc/Dn1yHF3ysj3XrnxQTq7MoXSUaP+kG2qCKeZtm9Ek0SGl2zPVufco8RVZ8CUn+BDfIkntef6bpq+D61YbJS7df8usY1CFyuWj++sUJbwx8Igwg6GPWKoeUmREgVdVHYkAUTUE4ZsPqCVAyR8EwMtmmouj6R6ORKDukr3sBemgPmZDFgtnwTdipwMyOybTOwDfsENHlIfZm1LDdN3Td4NC2YH0tm8r2yVJAS6JOIp9wW4oAqcNsrl6x7Lc7sZp9BBnixeTWSBpQEdPYBPfxfFulF/zWL6jumQ/AfmzKK0AEhh+7Dhg0BSFVnMJZuKJRCYlI0zFUJTA+8HGHzPmZsGxcf4sl09Ta8W9r6LplBIr1Rdx2dzi9i1FkbDe0e4s9FqLxDm5BkAJVroh1s2StF29PLGp3gzHnGuyNPLOHbrsXkYfLNg1tDBfproq7Cu+cMnHDWzkPbP3iUOMXEAFiLTvpEy5bdnCNEPJT+sj+vPOoQENdslysEZ1xOh8E5pmrtc8AgstI62McMBCkECvlh9oOxOI+L+7bcLzrUz2SgSGhntO84pnEpGoTAhSGq061RMYwhrm0+OaAVoHfjhz26pIrRPxIkUF6sdy9Xm8jRVubWKS7vbXDvEJ5kUlsyWr+gDcYYXCAKbmeDEpad3iS0zky46NEWJ6ZDlsGYtRq7JElltPxCDHpl38p9Y8hwfTg19LsaNbUSp55X8bgAjzXDCiyR9CcpEMJikq1ZEXd+49ha5ykHJCOjPn7b7oTS6EoMcDXQiA1jSKrYHyIgeKgoSCyIFWkjLgbBXgUqu7JjhXMXeHIqmN0/ZvXfwS/Ul48ALj7FcGGiKAsPGYxFAMSqCoVIFRKng1LeCgl2sJFNt7nErT6rpDa//QsxH/DG0hKC3iNfBehHVgO900J3Tv/oH/qmSTU+CBagi72SLQYZbbiwLl3obdE/FAeRkqXIGR9u4SpgNahYQblhurRECLhRvy/PNw/UTi2eQdPnDES5RyMF8ROQSbF8H/sEjaCynRMYfMUbcXNC0qhW8jMyzqTMHnoA5vSRfjsRBPYgmYEZIK41s45si0Jbp/fsd7LBsfy4NN0X7YnsvWeLYxCIzwLAwsRO03+pJ0llgrEr+MVuCNWsiAyHYhhYsn/mWCBqxQ8B5P7lOrWWg+f2lBrc59LIDXAfqg6Z1vAi4mjXLQ2M1fEz6cxNTE09du3TCBY80efdfZ642wlJzdsvpgHciOrsHcdqHw8c5XFn4/dD4egZgSvPAVL1rcnAhh+symyEZ0DsvaLpA6PZQI1gQAQxA5aMSmBgKCmaYacgYYI0Fw2KiKF2gHNLpRkm5V7VoSts/YB3C4HYLWpvcwo5C3avivIYZ9tNRTHKgavQ9Nm4+ozMSxoyg4qRF5mymI1l/wtHOl+ngSW7+PU93JtvRb6nFbzAP8fuX3eSGKzW0puP4JfP8ZC5uUPenf3xeh7e1tPrME9iLapr08+YCxfGE/9nktjhtP55MnvWcPrpHVD5Q8Wf7zIEtlUeTJQ/HMwQDNwSa9+y4DYZ+eqDjfrSUTQBzoR3oo/8wG6O5EGguG/Um2x7tAQFcn0r4x2QaQqxZM0ok0Qnx8cd22b7mokzpteZIf9F9/8JQaV3ycpPzS1OLSukyeJuM1ISG/wNMxzAP1ZXrawOnioDQHPyHUh6238utN99krlC80boDUcLonK4IRhOdpuC/fcI12/uFsJqLldVvzcKoOuX3G/o3t+KlaEIg8sEukaMJmrr5RpzAPjg1wvpYafSRVqN28Kl01eJ7FckieyXP9La+faMVmKIfYsRViL6cg4zdnU71P5B11B/vNkbHs0tOuE9w/NNdqDWU8YomvH0mTX0JGdV8FWGza4+zVdGKTdoG5vCCr8+iMrm3e11H/qRbc4Tm+k+6D1bhpECCALzbszgf0RMZ6jr84OcQ3xZ/ZYZGmxEOMy9JbAm21qKpngy6cmabiY1+p+EG05xxavkT2fM46b/IxAvJvN1SUE5DX/xlyeP0v5APX3aTx2cX02IkioC370FdYUSUGdiSTeDdc/8xfj6urnlyW8h0OeXhX0AE8kmjnoLuCjYGl+prKsNVX95PCDYJeGlSVnJGWmR1Ae0DFvG2HuythLXhNYe2hq8ZTOahgn/20wdUTb21A3nGjv1bQydSh6oP/EQBSp/vNNdDLqCgr4HLzTFyCQuk+oEoX1AlUy/VG3ewRo82NTQthr3A0sEB0CeDxhO+jHLFn7M9QrwkpYcH/yzCUZfKaNn0whw1J6CZV8F6DWXodkXhwzED1H8fW19dQh8kEJOJmXOYkEzwn6yezQJFDmeJmzoWXvVElHoNfkIFIu7/Y2zVZ9sy6W/OQfPxVzc35tNI6XQ7ko+FlERMapMaYiaMDElrzGSwov8h4EC2pCroSaWn4i8etRi18B53As/OdyRTETxvZv4p28qF6IfcdTFGWfV0TrN95dMwxh3uVdJlTsC3eqcE0VVHdsugOdUW5aIS1Znv4Lt3isRY0kQnDcgWhzBuxat5KcP7L+1EqDaku34MLk29HGqoNrnwrCZhsb9PKVn87WIODgKaBRf/Z4Z8ycYCOnBy7IM1pZ6E4QfBmueaA3iunWA+BPw2XV03/uIydI5g6VkfAZJei0s7NzB+ugkSRC219pQW+YoF0ARjp/MVc00gxRBmFgxSg+t8arImtwvKSBgdCRI9SbKgInOcYLhxApekFl4G+ZdDxG7S/spiDdBx18RsoabBD8ZX3hzCVAjpp7h9REb8KqMI5kzSHt4ou7e14HHTFqT1FMEm1R1JYRXGz/bwKyPk+enFdwo//sTtR+jvLXE90kAT71UoebrtE6Sz/GcXa4So2xS8yHr8S85Mznto9xJUoXZlwFCQR3VG6eurYNIvdg1cpcLwmU/+vj7WfvymDVX34OiAdzuN57+/oCcbyHvuMyT1zNo9Rw6QrfvETSAESpTSCjU8c1ZjIWs5OtPS6KFbx8TOHP/EYbxmCf9ixjBi6HEQ2pKEDwhuF7YtsdcHnfsucQLGbKxTGHmI2ay94mR10Wr3RujMkkawiPLFNOKB5SOl34hGuEtEc7Zs4z9WjctgrT/HTCJE2tEBfXsS9t666yZWGVxIftiaNqrIOLtpvO7movZOwy1u6ZM5eFpwFCq/r25we/oOIVPCJAg8iZQDOMUmFD9GAxiIobEPuhrJlOgkE1f+HqmTDQrO+I0TC/dYfYyaMz+RjFGqwpkdmOncDw5Fg1GipTAEZrvw9SRtOt/uNN9FoDISuMG40vsn4ETs1X+vLbizo+13pvLcn9kO12ibAqMFblcbN6OZm7mp6a+O5QHSekHH49RuevkL8zHPF2cJ051UyNEPvW74fuDk9Z8FQY66kTIWXh6/IHzG6GKrKIGWE5N55f4JnSv1NBXhtJc/e7GW8cHgZVa8bYfD02a8F7kkr4MGvGQ+ixDXtJ+c2qm8EkgQJXHL+1w63BY3sk1CyHa0NTCUmS2a3a+QNMu0VXK04OeqTtjvFwWotxF6Q6pNDGajZDGRcyQCkWt4h/tjid6o0vISzFGAvNYNZlQygTIANYT12UvxDa1MT4hYuclj7X32RSIxaWT30CCng/evRK+2mkNvOaBMnfAfxzeT3OrNOhL1s2by3bNVG4gnCNZUSJU47cJxAP+pHMQ4fGifnkx4ayTcoXP1nH9/26xiSwx6F4m90KLINXW3GR/nbUSb/wCLBCde7hpQcgiZp/yT9K80Aj2A0qrjagg6za1cVeMB09NUMWCiuU143nm4JiBiK5VQgEVfEixj0snzVi4pCdtsCJ7T5+f2WYidGzTSwPBjclBz4v931TCwYmIH0r0gIniAqgrRA004kpLcBFJgtaefLYbu1OOyDA6SAHdD4PfdpBtw55fKEVBgopHkQV+1Zh3Y6v4Wg/Ev93j4Psghq0zc6mWSIjvM9L9+onJe99nVEfZVseFxw21bCm/9W04wObki2EjgmQ6+ohwnOrm6bSTxMeN3Rze8MXqK6g2upEhA2SIaLSqJcUmNHmPpiYziU/Tq8iFx+qOmynmEuc56uhnq4Pnj/dblim12pieQjlmlXzWgncGct4Kg/lWde5X/Ye8ZZmq4PxXVmKzOfop27ld3XxXGnDOmJ5RI7arN+UhlFqug2WPpLoSuKeCrT5pUnm9/bWp9RpcAII3KN7u7kQhBZHxY1nzvBvp2P30SKpP8nWOm1eCS/f00bRkaguLfewZGsjgbj20NIHFHddiSPTplSuRlr/sWPedxnIjcaKU0/fmtkCLI65Q4LjtLKVB0uTf/x9q2IErIBhIXnKYj85LAD53icrRdZfKErW9APNRqHu45Um7i6zqupeltGpyvMr2etc2nSy+aLtywUOxN3xXJzBHLO3fXcrbb9TctfEKdc99JFLWie9+AEg5X1HJxfdgnyyITqEs76Q5pOG/bM7BBNbCSiE5SW7rAjP7UXosRVzHz46QwEbp8oOL9xjqm4sUuK/DHKCuQjboqxqmZyO7LUW3FXQZw/FExmCYFoYbG5JGGWIs0vlyz2v7EHG75c5usUJEqJxQ93l85k3RDKsiNjL0o3vhXkDItFSbNEs5ZttuNq3xmdZxjE6cAR5NIKMYpgP8cdV6nSraCfizjEfHAlE8UqUiBHWBWiSfsTQXpUA+voR7ukqU2cbCIlAzPxr7mNcGZm27iDNs+EbLEvB42jyKB9x2ic4TjGKRs76qgQ4X3g2hofigcYHAkK5GYCQJP89WvAE7+ax7zWIEdeadr4tZ0TEr12Ay4+ZGPCun634KsbGk8JDL+z78tzeOOWcvd8dBVpJTO7N0ShkMIomwuA81nZ2p5RTzX8tx42CyZfLuvx31gQKOqcRBjQAb68EWgZv8phuUxdD8vqbUim3RGGJp5/3D00mwNQV/7LveHXKKxHTYygK9vgHtKhNrzlGEsFE4CPrkH3g/i37DGyPtOiB7QqgYJKFTvjVWMCydBQNk3VjhrXqZbGSyu03SCMxd1Ano6l3BI3ODCgN6cJFtRsYAnkAgLUcz4Wan2OfPAXWsgOcur1yAhqllR3bwVA9fN3v2j8DQ1o/3KHCTxe+6MidfirNm4oevS1OhILfXo/gwwtbrn9PjYoj2vrZLv55hRYjDNRHgn7L8A5G0ftgV4E74kx+D/HXA/XJKVzApnDhBDJSexyC48L8yl1WYqhF0UzIUS40E9fOz5uX7nKyTt+yBT98wFeUw7DZECeHcgAtTilKQFEkD+Ous0th2Vx6NxAqXhB8f6Cfjl7IPxyOq9I5HbeRTMjgIqz/gTCducbRG32DSisJjQcoFLh5DctuZTx371QG0QpVIoylkblPdMXuNN/ItB/EqIv94bsqi96w7uAy8v2gZKjzoCkCOitVqEsEgg2eSNW+RD1aL4esJ3hqWIJ2DsifG8W4olj803ItbMOfDrHKv0fq4BLiZ3Erragcj75Lnxzx+S8v+w+abzqY/HXRvKSm17sFmTV0+cbAg3BY5XuuFEg8Cqit44huakvcrFlx3Cpt6OlzT5ARxQg7wiffURenw7qo5bqtpA5D3/ZftAU40i3fxR7M7qVbf6m/PM72px7l4DrrMLERaK2q/gfrsIxDApS9c338wDM3oqnEWPMqEZkEEBNye8c6xXfk/DhB15CEY4MfIw8s3OUrSeahIQOqbnWb8lwkPvt/AcvEWhtcFA0IDK0ED3ZOcolVwjVCjZMg44ULEXC8D5iwn19bq+IYzeKla0KSTeXZDmbvrQ3GLrN54bETzyVHJv98xSvV7rMq2ja4aNIhSooaCja1WK2gbhf7ztOetW1L4l1EUyBWmgZ22UX7l8Wkh+Il/KNmybxbZssgtQNl5kjk8OSsIz/Xw6Ga8n8iIacPE6sVVaNNnIDI97nHzQJvt6J27N89GyOtS6QvauUDqByailVdrlaR0yA2yiCHln6pCa12Ru9HeV1CFKdJHvMjAVAX9ywve0ltb9aQ2GEg4aumj+XwvfHbOZUJul4udrxN7dnGs6K8VNpPPgYQ5273IZVCF/EcKYFoChCcn7PiJ4jTdrv6m9cxjvvO6x7+8EWlt+WjmFuz7OchHDMAADnT5FDQp4Syhe8cuSrqkHxmL+7HhQkkmRokKjRszMpot6/u4B9vmRTXjqz6/Fn46r19dxWv9Drl2kF2UUMc201VNVlmejbrVvoMU5AHYzNnJvgAWufyQEVOsEGU/7v5DKm++Vn9upTj3Wl8i6vQCFtcHhcw9yQn8dwsFytaNKoPyybXtoTF/xBuFXVOUF6uIN1A6MUHecdZqrg5wa7FR/T+SK1vgykH5UJIcPHk2dbKjCBq62HbhJZ2Sdq3n1aRNBqp15X8K0GGaQj0J+Zjsm/um+BJj8hgM6B5UxJ1PxmgM1MnMP1WKCMlKJN+vj09KTwk0zjHx0eVmW8Rc/Op7NvhtFU8fGYCNDePhxr3dL1YoBqEPyDhy6ruEA70hGvcrEzLOlAfWK4VP0IWfeU5vkiSX6OGFuufJk0vg2R2Tk6bEPfHj+s1p5P9QUxWnjxi1fnBL1xMQ51yKp3f+9qAdVRErtZMjLSHXepCq84SdPGEhOiEstCnUc/raAjXeLhjPYUJvFp/W2YXvhJ/yLhIqa8iaIhxa4aVMATLTsLABfjz6vp6/wrQ5TjmJ0yw+ROokRBnaKFDP1fTLVcx0PsmLNSjyGboExXJMSmcBKL2bfNEj3oOLez+QIVHUBpzZVgWBN54aOqHwx84LAQccuxAxh1SGSOLdFqFbJKUsZG2aFCK51h0PDzhOLRn6/tgMO658qB+eNswSl82s7YZ17TPyBLlYSaQj2zL44wqDv7X5VcyPzz3ueig1joG74j7Ct6ZeNwn0VFMkUnoxfh13F+4aeyDSc4bgapj9GwGrEHruHeYBKyyzcvmll2KvdBiP+I2jpPzWiyzccbmrnROkNwV4TmJKqT19JXS3H6lqx6b2beHmc2jnkJ/6AaLCWkzB6l9m0jLSTEe1dUkXQToz6rfRfI62GkDzd5+gmr4tB5QIRUIdqtr9ZrnzM63+zTNzYdVAlkIQPIe7V/yrXDaFHlpFK9OmYfcijVd+5rDmng0iTCSSElZnn5imj2v9+fYFlrX6qpEf9t+51IURMW8dSAfjTuo7bwADMtx7y969ti+14i1prGCDas+qf+no6Gch4/jpIWlSRxhQMwDFVu9QROHqkoY4qduUa0MobXbWykc0Nsq8aNsGm8OdU7fJzVJtf0pBEh1q8RMIwutMLPajuLGV3fjnEWuY94PQHuDoVixUrVJ3bthsCeZ4BlR01gW/VNWio7IDpoKOYJWVpLUOmuWmSl7FWQIIStSUZouq1ITDN6ZCC/Sd1/K3DnifoCnkmrcRSRzjirC4uy51lwRsB792fbt2T3BPbbmPkViDVsq8jKSCAyLkdPgR28pdx6c7xS9TYgrbEP/6y2KwZdboiKqJlIC5Nx+fjUAaASuf6CjE6Pbga/GfTEqbBlYysq5yXSDvwPVpXfHluKTOiiiN2DZkPodslcW5xMxhws5k8bRgTqDiG3QGEE+hDkc1lNhRhZa64EDR2tVJiHDU1t04y1mw3OasyaVArrabO7BpEVtkjbLBD0TaETKPSL53aT410BtzaGD5hcW1Q7EB33ebOZG6VjCkXWL8b8GnqmuqnPi88fDd2HZaOEQSBvkSyhcZA/kGx1bbU1zw396Cy3MdSeS7GJum5sVk9LeBCk47UkyugMHONp/h5stT5XoMY4zKY/dv7hfl3snvAsY12d76lkK0M8zrPrAR1vn+nZr9QhzIzK9s5Yp3XsQ82n/wqQ37+0XgxvQ4QpCCEB6XioXlJBYtkBz8jXUEM0fJcN2kFupIAhMbJxHm2L/LJHsWIjOtfqlHDjTpMVgFXTBgq/GzIjXTU/i3LQRpvpVetjqJeHhCdlx80YNWKFtaHZn6KHSdape++F9Marzy3ROqSzWQ7YRzZZbCdDXZzSOBEzqtvw4HrUTteqqBBA2D0B9TtRZtXBxJUBBHiLz1sl5WnDJ9feBNS7sgGMIge5OM0alISP36ioFXAo1mwA4kMyGmzICgu3FQ5clbY7MlhuRBrFMQRXLyU1ZBU5Rcq8NLvTcpOs/nFuUoriqHamOtYBVAFKkO0ZMoRc81nXwnH58AhAe9hZ6SwyWOS/J3BV6mCijLSf0DIwHGwXtpecEnx5iK6Ym2RUG6KUrB2lF4oII7X40bNt9xFGrywFq3HLm1dVw7jMC852N6LJGQSIGDhPdL1CQPI9OlvJ4XAtDwKpYug9TK6qCVx+bZ0G2RCA1m2OF4jLQ99pft31pcdOUDbzlP+7/TbUGENmVKHWgn7Hy/Jx7JNsWcuSRpSD/ayghl5oAKbJy+DFXdH86RusJUIB71LLewLk3vfhnqXK/SiNnb+X4zdWyfZ+aGUtYVu68KQMibWQKNlsDfwWM7KOYPUKpeP6/TLBAErnm1SFYFFDQqp2qTrr/yui3fHwl1uyWckRZNYt2tEwxUiZshpn5VA79ry5g58bPCdxNVBmgVW4bHNSXweOYYc2IqQlhhylvf5rNmkXCh/Zrc3lvgIitUPM9hDVRPXXsAQPRtHmABFYiHQW3GBrXkcfIcztDvIItK8Eo0t8Z7zLzQQfkEmRRkm0dL+vvvfzEIgOgQwXafh3YmSBhrwo0S0BMKEPM7RZG0EtRh44wYoI4QxElaXqBztzUJfgwyk1/4Wa9FbZB1Zm3TJ4DxnCeO9pwaGhaKH7xWC4ZwnJveMMw4XDNxDBYJh2qzmxBr0twOsuqbTE8qPfX+rci+bbuvDayCsrbaq10oBXe2qHgYs40go0OmbivjzXVAKXP1WDQqTxddtdPk89kU4nYHzh34QVCil7+1Xis9gapNglM3GovLgVRtsAnDdMvfXJU7PrtDAWcLv4xJ89Hb5sh6GJSAF4nlwTC0yImWSk6aXLJ6c9ztdiqW/pzYZHhneH3byYMY4sxcHptxzunPMx29qa+7uld15AoNBcm0AQrtFCi0/FRG/lT+cMtRDNDcenbJw2Y0WhrZEvhXyMIll15hHoyYpkklmx6HwfTlU12pX+VWL0ZDuU2PLaefwD9Gzu7oZnRvcVeuN/RJgt8FeEHur9tKNNAmJJ00CiGmmGsBcGyQUYlI/KO+BwtYLN7zi8UpHLbDKLthS7maU7FjPbmml8uHZm+55Ht/i3MFE0+24MAfuoJSJ3oBg6RWp6Ydg/rIt5zO76tjU42RGBmZTS35f3Sn3ewwKkaUB8GxFIrJEKLq3Q9jlY/QmWdLYc+N4AtR8YBCtLlFmsUsgxB45uhNhlJEIZ7XtPuBILnnhEKFxCMcttg3fw+ev0eV8jk3DpN0XcIMXTRlLO3GeSQ6tvd2vZYPM1nrxpFGUc3Av+htje5s23auzCKfLfiEIc1579ZhS6dbiNA6taiU9Wzk2IuJI0nNVVgzpOvcinYqqB5iCLCd7x1mbyTwxLIEjRzEnZWlbxyyySPyB9k9b7Lwy0qa+g0+6HTK9g6+P38GsTF9YCZTvlzCGbTSz4OLOPLYEDdHYYPmhLpG7RAVaQfHSMUShN9V+aiXPVosIHSQpLUP3ZTLYyDk9UVkyyDxBmObnE6u9ipjcWgGGgxwib/lzd9yp/IXpI3LKtWmMgqB25Ks2SU2ym8MQyRj+cg4Ay/mUBRyhK5+d8rZTcJzS/gOgMH2OBSgD8R9E/Hlj+sk+sgPAGSvQy5OCce7RhRBLf2yUTGGtvi4be2q0Y/N1eHChKT2+lZOmJ3xRWIrLs7aUcFh3ypqWyrTEycBtkctjDOvbeEpUf2xREyy/WvzIkox48b3sQ2aCEH9C3WjgIqeuTBWKuXHOco6fyGciJ9BDXqq1IQEwrsIcHlmMD0f3DdOSM9A/cczE0TCvd1LA9d9FCVTic5yDcrqF1DNEuKVMv5XKxxaeEwNDKgxTPVcT4A99WRv0P9V5yQAKIjcfe9iMdH9ZkiSJsVZ0cISwZwE5WjTSlkrbfnc1VhTiksZwEdhGGhmpX9nNEN6SPOnHwFyPZvclHc3dlpReDimXYI41qjxJQiUHLQ4k1kozA1A7t27U920PdYr/21ae7+bPOwvfeKI8OuYmTD9h5AglMwrKuaokzt1UVECO+J6lBgPjAhsh5Cl+T93N2DLvHBj4Bx/ZBSihIta//OhcBOL/Hdc0nuh2dOLlML3nBcdlAfPDkM/pfSPKA83+AFraIznDcVrP1sIl7PLQoqegjtb4GqisZlUwttJmqWOBJlZsOHSfPEirIlA9BoQnJ7cSU07QsIYyF43mxyEyekORnwWbHjIKMZdMJRLRDtUfdPH5JPgbfh3Vfz95VIhiWc6R7MnnUPa1TKgITE2Y4rt5rUUPeHRBVzrLn3iZ86HEbA9UQOhGRIHIA8+D291RchB4BMhRaTr90N8DKfHpFooQAB0XcH8/44aVIM2Ap5BkomoBuWbTtLEvXqQpCZBe6iDi8bL4ywLtGIZoUNzWM60QwA/s7wgu0Fel9lfZncd6uShXNnWovU5Y0T91BEg0B93in3XNaBehuSgNAA+bohbnKbI2oQwnlIlg8wmmGRXEWjKtNBjB8z0O7GmxeVlq9ckE+g7J91RsHdad+hKJoRDKyXsExQU1R6w3iE0ZEncn9N5eUB0TrTcSdmxMRepMSo0VtvBSbp1u78ZJQx9v6xzb+wHzPSzXRHIsAv1tbpZOgC3KTlQ4Owbe6u2dalvvzIWI46qjZ4FQnc5r6yqpwhwWlz1dWJbKIIorc8h6oi+ZYIw0eNHsVqp0YLicMlmBYsGzW3Ordt4nzdvoGi8cNoukHIFOFTdkcwpuAOp6lc2xb6V2Mlv8pgozch79Q4o6OevRl1fWTJVpjaT1SY77PFYG7CWcj0n8zu2VDF8BI0lx2m5yWFWUVk+v4hsWKKa3VJ/ZGN/kCxYhhT1EpWXrPtZ+163kX5ayHlyQ5P+tBucCZmPF8oi5JJKvV6m1E+fs12/p6kSWQz+IKA4hWheVWjLkwnG6K+OwxvQgWdotmT3/UjTLg/9D4sKl6Y4H5kypcBo79H0GB7u9GoNWPMp7co5fHuTsCh4YieRPw+NVwD6njiJNf/PsEWo+ZW9XxI0AczOcyHFSi4sTv+wj8J3l2gqUEisjPjQPq6IIfKYKWm3R386G07s0poUjMahTBYbklagLWUg1W8l7mRPtKn2VGeAhArfSxylBmt41N4c4IqA9aH7EUybvbtDoTxUnQ26oCaOtiJ/ceUorV4hWAfD1RuvwzaFVvu/qEy+q6gznW5qcZ2E6iD5fpUUPDT0BJLPDH0gUblbIErvFO/AR9UJI5VCLuLZuaufJs4fBkwyQ+YtdXz1c5R9MsJBIs5a5hteDwaL2xcua4WZcjS0XMLPKTtOhaTdOHM/qDCW8B5TmlSHlWH1C2mGFKpVNuqw/IsUeEIJ8t2/xmXtI34QlJDOHzJXbBOUdG34yxgbTBJpFaWTh63trTuix1ueq3dMHJtGfBRIr8y8b3TNqNVei9BSUxm2K/lWhcTX6sgk4CT8d2Y2BAPrjP+HY8KMzbkkWhVCPKNpgR9OvaVkaUgzTTyCi3/xh0vNCTTF/Sq2meN/SMz9bxz5vrobYF89UfaJ7mgPDFL8B2/7x4hzka5arG8+6tqpdaYycyuD9eZ9Pc1Ns8Y98X113mK/UTx8BHbaO9XgzMXjbf9pNjZwZwnjKiYgq6rI4MgOIsTeapGZ4ICnNPuWu2VgUAmHlvyP9pb+EaZfSLPXhKJqsS8B5v1NAxhP2tsbltMm6RY4LXXg78yAVcpsmk3C6lDQQxeEx0t614Z5CfhuOsz0kdTm6FXc1uYGsBcHYEVifa126LHUEq+2M86M7n06ZbVc1ZjKvr2dEZEdEzaB6hoyHNWApO2DpGdme1tS/3eV+LFhIox10gUrg74IMAEZQq92NlJcmXcFQPFIOibqYzXGTXfNCPD6yWKbNUKm0u4h8eiUajDoqygbl05vTidjwaDqiab7E+SE6zIOmuyKKt4hRcs4DESydLOn+WIfWgMlKIsFiT8HXb0sTi5v5SQZRuCsIn7+wHmPyeVwDwvLJDOgArCECj3h3KNQyIf2QilQ8l7yG2bqIGCD2QS2Kl0lmSo7uZvGgnXysCAv/efelXGSlsMtYGpzyafBxvxmF4i98vpfsKZZZrZY09Y5V2Xfh50IUYAkB3gLbEsQPL+8OQebU+QOslWIQyIiXiYgjFvMzA7XHBcjldbSBHYoWu0NfiYW+3ijqXesa1enT4OFpvYivraC7iX+72sBvxUPn36ryW7TZYTaXwE36kCkr5+yt5th+B8CuspUOHMQfuVyh0P5YRy86WyIgsSxxZL9SlfEhRDORRDqbMN+yadqv7LxTS7IhE2Ri5mEHngJLaIjV2ZiEgFjPkAoo+AIvVhgbMb/EsulO8eEgrFsTIFWgir3ZXQyugS0qCUK81jurXI4K7ScCQSREzv1kvsqLiwBP4DbpWo4bWXhMdyhhadsiRf7i0v9aa622mzxLD2fX/KhrcH7ksaTTVZ7rinLHslJLuz2LOcnw/naaEmaRV5grLt0dswUl1eZIkOE2uPqFKRq0qYzqGLgrnZfJNZUMSb3BAT5+7kbaX3yVNw4/XuhepmXeSRonr+FOAAahMTuoK1XsgwczmwZTNstu9RqPIOSV/lUjg0v7uFaA8Eu0su8Agiu7P4w+zc8kFwhIeQM9Wi0qfeVq8gMK9gq9o5qjSf5Kt1UO0A8189qvk7UPlqtQDRoNCT7gKSq35pODcyUNyOzfcHzCAULPue0CUi8o37/gmzu/dTMsNqxRN4KaNQPel+QMdR2hv7V7OJThZSx09pER3tjhI9fu4/5gH4cScvJxvaTOHyL0Bk/mTvE6yidIQg5+zd5Sgtab7O0Vh9w4caaI/LJ4bT1adXDqRxtb8lGGtqC4Yaft2uQds5lCSPmuWAwErrFOi8zLzJydV4g6Z88q6S5Ho3ysbgI3ERmLqqXI53tbOjb12YknD+wgsOl+d32Gj/mLb0ZGcKg1/0d+ogdS0cU4uJrAVNsgyO/g5A4u26jhX2HgPdp8z0SrWiksYByUCHKFP5S4DD5MlKHaOnhBWHYHTvSgFEbEPcnl9skLowyUkRCEtk7YKXnC5WT+lyS5Atz8694ZAYaoctBdaFYRmJQomQBmYT3PfhOqLewK/KIoXyg3pKc+aCSwADcJ/YtIv/F0FPxMJiYGlpO/lJCjnR5FaJ1M/YAWUgUfuBL+CZafc/jhk/+kNsslQHC2qoMbHDaMSsz4Jdn8wYjFSr5ngq0jsBZIrMCEzq1z9cNvdv4DLHduG5SPIJicoKMTDU/ueqbPBET+6djSdejUFmx+AnFzDqvMupI4A+2R6TzYYk+1UmZbo+Ybg4KICIPpvgpMBJx60DWhur/WFvW64oXeo09yBZ6h78j7VHuCJ+7plMuIK3qwHdd47Ad9U5gs8zcVcKZebs8zLE+dScVmjxmbFGvFapOtDMzCxRmlJuqGxHNwa8V3WfQfpht1cAZo5kE2tkLjKvBNChhHtuVzM9z0iQ1MCNPDMsTSNNe5PS4GjF/TDaluS1rFk6tTtbnyr9gbo09F1YqoDO1QKFMR2Bfw2/YvUSzdS7QQH5JFmKLe0QA6ZTVSI7YD0JUBlYMbZ24cF9i2T43+GpO0S/Aiotph2Y6kI+o4y4D/Q0jSEKVfx+K9ryPfeMLjwc/L6OrPFJA2xh2LFYLWppvlhiVXv3feZOk4ED1hmvvArFl5Euk8yhfZaL9q2ZCNRYSzrxC170uL5BzwfN6qRhkII66+RAJ8gB8GiB5ehUtr2IB5MS7AWub1wzQSf9BgUef6SzOUORg81qzRdieAR/BPsIEbDdENvrVG35ir1HlKh0FyqQB1rThn01+ioxTs/gVx3Bv4R/SfF1P7BaOyq/IdgSIzmOWFcJ0IKWX+ULlRJFzy/MkCJWItQh73cBxCwWM1/e45P1W/amjRP2DAnL/sKZDEYtbb74Pv2YtNDuk7grQ5U+rwVwOAdtzY5jGfFNvCpUMfjiJzmy53byAg/FxKcI62uroOfQE4TugzJDD6sJuJ39PSFwayZMViY0ibqXRXVDYrMDRX3+TydZyEREDvLdOd/dDrGUFlwqhpBS/7Ad70P1a/ZGmAlx1u2YXbdIgvk+Z8q24l3ic/W8V9fMpxOgQyQHkuw+L49dJgL5ZFLoHmi+xmPHtNpCwRKPwQMVmGR3xNXV0w7qPyOzqx0PfMitS36AbYs+GsSu1Ko1gIWu0eSVZeZpHVwQNrCwTrlMThU/2hqL+UgCa89gPREcqNJSugCPHUCntTBPzvYkbKI2URpC41Ra+QNeZ6LR4mSJJxs+wtJpw83BQvx9jQ519NONYx/odXZdLaJdRfl5hKHTxugasWN62ruhTENcf+2/ebPmV98LuAowLNOCLpNpmr5xBj5meCPl+tlrcbdfYXHiHKdMpGTLdhryJ4jA02uLPFAAUTO0+XZ3wYOvcK1AlpKI4Wy2fWWR0CbtxinK1OlOHWieXSg7wbAp1K56Ui77IEtwcdwnysZ3INBXbv72dq2yTiz2DP6nfkeyf+AHCMizs2MDr5hL0tJ5alIGT1Tuy/YbipRmhaDQ/F86Fyj0bHkuctNctD797a/tLVpt4vrmXwBe/RdusRukeobMA2Jcc+BAuWwjBe1vjsqvjkJhH+nA25vdItTONkKOaYQqMBVNcvNWcANgxWeEcUM/9UpOugZEYdh9gdhXUbZcZGUm6sYlH+GrEuwc5ncLIY4UMNNhmw0le9wcefuA0+Ow3jXYw4dXT/FL4jlP+o17Ezc3h1/bX9QCdM7RrpxVVGh6AI2XqAR6NH2oLcQRZjuk9GAG5azQ4G1bI3Xg90cKhM0KdUuHvRpaPo1YRInNdAvMy8DgBfCLprgRAvB/DkW+znXhD1dJyjHIfmvD8gULQYtNcihYizcWs41e0KCbwBOJiHdPdHEBiIELKTerQRK9o4PvXDFAivieIWk8kr7dh62g1cK7+reeG6cPioa2+J/XdNclv3OhCu90XtGdDFYhhesNdExUFbQQDZH/jLbzNj0cxxV8D7l2lV1QsmSHveyNFYdnSi+fryG0gw1NA2w73KfBqmfEr+sl+Cbja+Mb6jW5rUaMkkrfUE834lkvYPYj44hKv2ExUJsK8vA6UMrfHk1cSg29/4GdhpfBdMRoHX82PXD13M9f99tJryDsT8fpgoFcgSMOeSG/FtP+7BXGYKI0eYqJ0eQafVWKlpwRKKR0WjYvxFVs2Fmta82QvD/+m6rfKoPTGYsOx0D9o9ErLGqQnVYT/XQJU3VF9QOK6WCtT5myPzWSERSOQ8JARRRRuhYkFaSQfwteEQkn0xMn84zZX/ekPCU2MxJyJSYzxapvEeXkQO9YmNbuixgdckvznqR0VDfvL5N2b2rD+LMRXTF+7P5L9xguFjUg2c8A8ViPCSEsXyG3BGgusoSXBP7epNlQaVa4gj3RkbhxjJoMi3u4WfS9KFWlE/llNFcGaAI8nIHb6+M5DSPXO6Z1SLnggVIKWus4dC1A/DiBsTaBAjD9Kix2nl5EZcpxVrlIo+Lx+AOpbc2UwMPN7jHe/Vab3dc0Cy56nL2vz+Bh6yXe0esFX6R53SjLemp2+XjzoGhD3OrMYCKLu3DlDGoSTYHu69X2wtTPInSKMF9zCv/BHeEh43WRXiN2TH6cyhdDzdEKVC+DgcpWHRDPzzd3mWLJnQ3l+z/dKzlN+xDW/Z3Ybs4Aw//V21vHVVZbzj1MBqBhOx+4cVeKjVtrBfXf4km+dAeb3OwbXNPs6Re3DmdUkEIzGQyIrs2CaabBNQwO0OooNk6jkYJFYK07B19Z2S5TbzkVNYYibMSst4BWFZYQ6/CpxpJxN9Ahv78lbS7Rn8TlSP2Whv9l4yDcguer+m3W8ntWDC9BP+3ZvIk+VLkr22u/HjKHJWxGPKeoMLT5jZL9rf9XWw5wOaN598B0tHnMBlKP3tc0Mjdw8+FUlrUUabWsJiwovuTJYTfsYBDN7sgh8WsKCONtKZrhR5IhYl42tbvdqQFPAJ4QeksLGpCuwXQuruVbJPid90oY9cpdH3AwSL0z5BhISHQscNzET1600eXj68uUePMYngw1NdM1TgjDTErv3pae1er5NvsbRGY1f7uKqhm6rnPy53IlLHm91Ym9wTaElF2oUXofoLVcq7AbxvGAD31oVX8ThNqRspBa6ieforJS0QGnib7KgrJDdVcJl5Wz/KhPEEQQkq9qXTTzW6MmBtwwtPdH5Pzs+Ouuj+56+7c0EkQS5Wn86bHcXExg8vL1twTay8QVKC4TWyxCVr8T72BErlyNo1WEpPnZ88o9+qpi8fNfj6udMkoGibcW+j0xRBhIsiF8rq/wBFXOzWKbCYj+raDBhTE1arlI+EaAj4ur8kVv/CgNgr8V/hwbnX4/rChAkQKaKhA/CnPTTIFPW7GMSNE2NIIliMdAp6+mZvVf3cBsTblBTBrbypIXsKn4M1AjGZ0eRGkYJgkI/JIFiD1z5vHi/gsdn8DOJnguEUSqaftPFF4OB4dDuM72FGF5mKOk+ZYMf/8xuFoaav1ic8eXIVix5SNj7CVE7/xj3rx07SEYM4twMsYVoOEYiLAgq+kyxg+KfheEJuS62FpjJrUwSzx6dp0ObwS7+Ebg9Sbcd6Ub1F9n+BIlXW330ACcJLttfz/m4PqssWpN1qCub5ewp439jFmB1vtgr80547PbKXcEJCCEfj+ujisaq0VAH6tm8zUfSICf87iX8l3nlsJCpC/KzwGYjDWonbjiIt5YdlDj8YDLpDGMFkssbk/xMacHsuty6XIQYkNNMOUjoyoOiDC507lz4AZPt9WyrEQDKVeJ+8Rrwi512YeFt2BNMHFBIlBOwwJzInCIdhC8ABkoAMK3D09RzWUcSc8lCepJGsAoR8nX/BysqyWnpyjAXQe1KmYU/JlRe9ZtkPN3tpkyzLGcC7HyEYzVLUJyqoMbz/LZNnCVqSNZJVwrUhUvO9//k2mzgVpGkKUBMNHN9YIoTJl+xagL9pkRcvukNT0Mw/bmRLq/JsRBrs9X9w1tQB+vOgP0Na8eGjnnKomKd6sYkoFFIb1Z8H58OE2YoyQXDG0X2mWqlarlZwfTT2SM7aoz+/8hyZ9Moy+lRiMBnpNar7NJiUFKp+kE2txlNPuuj/rA25D2Z0Ma1RtuiCE/c9DPFXGNgB8riFvZv2lPBkdnqeTKNX5kivYQQmsP1JaVvWCGIZi4t8ua4kqMk8cTA7ePV4OhDd4oYGML+atRVa5cf4WlKkevYZKlkHYbshNsncsorQfwHrtyP2WW1aYywHUC5zF4Dz162mk4aQAh2hBot2YwNsQS2zvnqJmbaueICyVwka/FXc7KPMC3Sp2aw89abrctOOuxrpU6AYhE1nD/sVFACQIoRD6htAdteRqbj9QhdAIvEfDu0CP/7SjYqqooZY4SyodQwVs+ThQppalmS5JQdraXdFnFa4yTvs464lNsBS733mhC8kY1ZbjoGDfYg8QyYO6sjSA8XM4Rso4a6Yp0rWVRGYWOdiDLyk75OVLQ6Hvna4WGG2U/BVCJcEIZKxywUxmXF6c7Ilof+eVXu+pHvwNCTU24ku3w4/eFDQV8OlYwI2Ciqq01GeekRnbYsO3p1gSeAXogLxUehhOI2CONHGj1pJKQRSN3T4bSaz6xazWhBKo3x08MvRiG5RFC4IUbr5cFmBdY61PCLhvVW3VKDT+Uu5QAWQNe/6JYssECv4pecp3U88Rugt5l3Ig5ZuKd8VWmccm/c7f48Bbf0xh0B5R0Bcl8YnHT96kghXWLAmhy/nnIItalZiIw2dWZ1x2VMeoDg7P6HMFru1fQMRdz9xtAFOtabdg+lFIxV844KdkJMfbdJhsYJcHCUvaxsWqRcYt8Nympt5yqsFL5FVL2gFgCgvib8VkY2f1Q/4te/vc/MuoP9XFlu+PctsPaKntvVBBinEnBmJs12TbjwZ3Q3h+8Dz1MkaY3AILEGViIDTCCSUTeNV0cMxBKipJvZFboNKZNrYCLYQoVWT361pRYYMOT7GlisqbIjkHD3mqjOd3zUT9TLxVd6C08EpVgpaphIc/1rfVs8XA/Os4N0RVQQg5n4P/pYKD8+H1+dZf/QF+mTDyuochhtS9gZITsVkyUuEe47BrB+3kZ7cT1Usrhe3qxc+FVGvcKm7cQ2mmIkeuHmSQOB6BlUZW901hLmjoaVCFxqWvYTScCmj0b3yRmszWrgYdPxsQrICdJqiy3ljThmgwq1ghfYReOfg8vPE5PypgcRqeUWo/IyujVOlKVMVHMp3H5fKrt3sBV7nLWNhDrqHi9Kwfi6hRzrHUpU0ElwKYy9q/a65E5MO2TM2YM4I1bGFBAuGksl22kuKyGOUOCv/CN9gBZzhBBPF54raYiNaa4z4nm62jc08/d7ngkePGQfZ4n1DYUn0YAkzwgttFJ9QbKsneSyFCELRd3tTkHNpw1ePIlz9/xNMMOz+Yyl7yg4Iy42W++imSjaOteUM3EjyB0Bnd7BbKSsXD4nm9GXAC+VXclGJDjJ1YakCr2537W78XWAG2TyfWEcUuzpNM0UaBx2qwK0oqKoRzQPjGDiTsmxvKfJqBZuGG1Hb8GDhbNhKjkClH8M0b0PKYLGLm/aItysLKnaoLGXrt52jVDOluURgzTe+YQAc8oGQhC+qZv5gvrIwOHzAnP4VUOw38RD+ANWpXmGHCBh2s7zAbfTQCHUaUVMg8gdFAj21OL/oflG0bE+mUak5W8jF3tIEc7gFx9vZWnx5pNi80ZtKgp7pIDnEBy7JatnV+6sS0LwPPjito+v4gS3MgP8aWXt+DLJUT6aRvoGGaNBQO0tqnpPiUH0QokoHTBHLLM34Am8FHNYV5YB1y9ZGUm08DYtd0WMiiE9b0U/CRwIlgsuCZHO3cwFjH84krnZ/FMEczcAUgBAUgcV/Yp/4po9U3WTyPRWSqJ/JgMJeBP09Qx8938r8PjrIOgF9nbdkbjsfQsfJ1msyW+7sZ02AMKUjaibt3HXBfZzukcuwCazlb+knvguiyJhf6Jk+GrbbesSHTt3FNf7hxvAh8onb6M7MmXI6sb8i7LqYcjMDwyJ8uXgEeSDvQFqS36XOU0zid7nrypdUIiAyOPdoPgcvCmkAxXGcyjJqA1dmuYuwT4XhQAsMHE0tBrQ76zmFFUH4gwpV0YhxeGSPuoHUZwJjkGAWS7ndOCpUXFanMW5y0L6QxyHLbddUZrJv1KSw3pLw70KryCIw8+SRyzyMVRJ8FrYC0rbB6UnsU4H8aYbM5BoiHV6WwNR3wHKgwBziphnnByKDFjhefPorUsCGyXuSTqTXqtP6jF98uEpP7kttMcwexKYXbl1CbIeGAOowZWJdYgb7JG6nZ8WRvWOQOv2vVGuCkMQNeOh+VtDNgTMEPJDle+tuhZ0ujX+ojFI78R4NzUWkH4YNQ79M/r31mmkWH6JUkwQYRVMcXMR3ifZn1eyl5UFIbPIsn7OGCc4+/eUMwzlOhKOnE1fnMZytm/QVLS0YOLl749Is4sHSwtIEYUoBZV3SP4eAU782exrMZtorEJGGxwuaYKq3AraHG28J3bDMnlwBrfHYnd+RIwoZ0WRjhOyufIp3TFzN6qVTjK6VyDrUTlFhT9kMZvqN0ZEalqg6CmDFdaMUYI6AnOIVSw/DqWRee+S3wUvBaU3yBoYuuy3iGLpstIPvJW7thXbMr7bmGSKIW/gMEPDXdolSUIhtz11p8XCOXPmE9JlrkpThPC6Za3MJ9MDAoCEl8ma5ZUPy+zVhZmSDPvnGhsL26nyDn+1/3HIHT/yuCBReFw2LtyGQDgRJbaiB3T0knvG/bxaX+46haeHwdpbRSbnyIEspELOnaS4oNhCU2Orv+6WUHSHJuo1L/HbcHLwUsnbMFbZWyimADVUDaGSZiLZHydnEtBZ0r2lw8LdoyiR9BZFpZG8lAtUqTwZIAZXhAbhNv/9KQdEK7+bBdn+MM7h7O+fow6Ewp3r+eYWtnvKvvu2EBtLA4u3Qm6Il7vP+qaFEVtkFStpnMSecVXI1fXrYqfd9cSO5+25QNbYlL3KLF0c0TNxYe7XBnuHoFZt6LfPCNziSfwWquytBX7B+Yynbmoj8UOysDR2sSSesTtwQFCczwidybMZ06bxiep2wxW/jaW4o5S3K/m+6VzRomeXFlPaLxUOpKL95Y8TXCup10KF/MrzFpwVNVzuGlyjPgdCUzU8FlR979nFQOAxlCMioDGWDcELnUQ1l9RQXQmyVEwEyNgoFfT8oBir275Jw93QSzzLu6xNNjPnpqtmRzHnfSnggkwg4Pe5lLh/0wRGD5U8wtlH5x7TC+yCNFbq/JFJ+pbD9ce2hOLNwiZllhqXMFfk9Lu1rUN2HyIhcQ1M/66rrnN+mtSBzRoNUWtUMgjNZPIflSaoptUKtWHkDyAatKtEwggSivmLiwQgvPDbxeBND8hzZ/hpPHC0zqSoySW9Gm7AGJLDiCb20tC3Mad6VVaqCfvw1EqwbP7LK4poaRSz/Pkwk/Vj+Y1K3YIO4QJh4jF0FsEsWh9TnQcwxp/HLD2z9O/4hFnV2Px5JGlP02h4L5UT3/TfNo1u9dG1aDQutT17xgtwVLYFG6kAJRMicZEmStjrUggs2Pl34IWU8rVtoHU76TymkFYhA+2D1z8hF8RGiEvMrt/HM6JytV2KF5LcciE4JtoPYIROnhp6pu2bwSc8yNfMSFL5QTC56Fd1R1xJ1bbzmKCPPynR4Lw7GK4h+uMSFuZyJ4y1ixlJ0UVcgm9ZcDNUaw0mCKvQf5e6NnITk/6p+YIqZApxr1bvAwCdRtcFFzJdBE288/18FQiUEQ1M7DK84Mf5qqDi6qx1JMSH9xVPWyEftV5LdGGqghDppItj/Mf1mH0ClnptaCkFBC88THqDwnN3etvdOush0OagWo13PiVPOkGHXvIRlzEIlDgfkncvdnqLOnUevzFw2kLcB8oy2KVo4b029vPh/EWMqQnaxdYBe6dNE1PWmiGzoqnLOR2HTSAcBKmx/kenXjABIfGEY4VZeeKo9oLVnaNcyTjOpAi/eCFdNb52LRogHohlZnzQmIdd0CDlqmHZBwd+BK9cyGl7gN/SgN0B/Qui4fA8Hbo8U1YkmkpYMZG8F87VCs2eP5zegsabQwKlLRKDk3SHlyZrv3Am5G3Al9E/TDB4QdqWUVRBeoeZ7F4TwNY0VS3zhUW8Rv7BWfKf8Sg474hj8HnnKu+9dzh0BcExjBj5YRQzuFM6Ux48iSjBSAZShUWuh+ZLOu45btQNSAfyJv/HqJDckHsyAwKw290N/Xls3pAGreebW+DEaPQ39KPO9giujv8KrA2Tb1TVhCA+A6E3jXNknvmhrzMnnK0dVIq2IZwRuYGOo0TcL0eyq6FSP+s1pBEB5gb4KnP5fm0uFKnq8oD/2GkFcn88U0v1WocpH3azRHV6GqzxNTxHa9XKrUWbJWL1d7f8uS+Z+loHjFyP1FwJtu1pIXZRvxyDltMUsyhi3h4PEu7E7nyKFobw+noKXKVG92K80RS25EsXBlPKZR71Q3L3NmQuFdd/sL0xkI9OXXTZOkinv4wDK9/wO2zQuQkyozS8fgVoOr6TIDalkC9CvdE+VlF6ihki2OA7wPP1x+ToqMplnluIjKYxfYTbFL0uAJ/fcsHNOZ4vc1IzNHmwQJIkWiADc7BIw4LX9W5HFolWEx9EqlnYzDZfS3khzWhLr9TRV63V8/rg1rX11eKLuaWw7X89XTc9OJNIl+En6BI59P1BAQw0Ln/n/gQOvGjH3vhY17VcXKL4m/8mbUKw3S4bwhMRfn6JI/wzDmtxDB/16JQWGXb4uoB0sgj/9FQAd96pUj1Vss7LFf8HUa7Ex1/hwl0twiqSFrJ+ZemaPXLFjVEjeoILEyAujaCH8Uq1BDwlWWvxfZ8QtoUmPlnDPj93YJC62VXmf8DdnDlYSRmF+86bvzT9UIC922tWRQWEteSAgRTlntM33pHPXYHcQWqOmc9fpniu64mOu+/Bk/YsflrSPk7Y61jMCZ8YSUAc25wrGduTvsO8j+PXuzVtKey+U/4H0geKZjCFn0wS80+MyPGLaa01Uyud+WtA9C+JJFxb9ZE1FErImnfco3Y0ATwg4WD5wGK0lDa1rowOt3srte25Ev36pkUvz8H/zqIm37x6WnbWlQCBJNazJM7moyPg2kx/L86B88Y5NGy3JAQ7zAZppV277kDlJrvE7gH5N2egzpXcS1Ttl1bo+B1ZgnYxzFMSdHWRg5gTeiMtG6upNNnxanzTYzua6t3IefP2YVrvTcgvg+Jl0A+9VhdPcnfWF2aLrH0zG23Bc7P88QbrqvbWeousCz0e9m2AAx4Ar01IFS5cHaJHesWAftQhPM59dFF3GanejBQfxogfE/y3yL0g72HTYNSRJnlLSIXyl44A8+gsVKr7Nh+BdwUXSzJ1yBaOWBH5gMMKT92uZxM4Abti1xAoUN+xS+S4xmBeO2nfEWeDOrMbhBAtixI+iTF4d1RYXhlXogoa6l5sMek6ZrKH7+fFguLKPqoad0j4rX/3mgxzFJpAlm/ioAJMh7G8VRac8lOrv2LVsMdrpUHcLNH025E8GtZtjrOHNqcTkNJwcY2tHlHLbNlMTUUpCRNB0niPZBElFpp9Ad6TP7hAYs2aVUNdXmnDME/IW46Tq7a6VC0fmm6jOErHqzLY9k8F27R+fTsjjZdyqNYG/jzhWNGObe7K7gVcbyiRNg5P46NEIlCX0Ca9ELuooGnwwqwYkSSTSSbLUfjqJDllTk8KZSzbVxn3y6gh5qY8DvLtxF1T3WGTw/oNLjTltnlcmFhuy2NbhQM8hXbFUjAW16rItiQy7C/LbJT1OBiYZSIZ57g0UICzeKJPvZ3S5hxfHs8WRAhhxTOJ0kUg9t57S1zaBu0sYxUvY0kcQad5S5EgwNG9Pd//MkCD10EkfzfavxPqQTxkFehy7JctP/UHRJXqpy8tzQH/n1869SN+Nsm5vi0KEmKoqApWdlIwObvuDoPyNT+rUDDsW2AoolHm49YCUociu3Aq6ihrD1AyVJBOShDCW1OY3NguyTdVU+bj633lmaE/zBfnrguvgNddCTxP5MoQtB8D5ok/IUXL/sv49zm2pqA+OWBGQTgn1tHam2dIPgH8Gp+ZgQZm0Q8IwqoIRQmJ/EcOTk8WmMvgjSD+F0UTEDS4yPj/ecdYvy8lhbyffv5PYjHn62mjX0hBf1Ky5lzekUA6o3scuVOQpGnpVi13XaZQXrXiLq+4t/kjzH8zPMuMUPLzz7yrqVG4n1BnE32gifO9lIYdcMxmLLr0S6ADDsTR1LFsCJPAw6jeFAMZX56yxu8A87dyTLoZonvPmazQPZRUYU1/W77eS+RQBWVMW+L0ic70SrCCrIkruH3hXHqzm6FSFGetFv1SoXPhHj3HHA/h2PcphVxzi9HvdejDhyRJSmD5T+V26lrtpMtflU8oXetS/QM67BkYCruLZvtgT8HS7QW/6bYpHwkA6NAs+9htq1VqOafqa47tNkT1UPgU1iSJHkncCU2n2NDoZ89htcqw4gqdzFQLPqJX/nplv7lv2uoRUYg66QK0bOMe2UjVL8GmT3cYZhzNvjJm86uEq1RSJ9PvdVuzVstXWJHqbIk2VIrqbGInCp32PiG9CjFrnDNWsa1SIupp1t1NQZ5KFvTYdzxS6DssnYbTUeoZ5EOzdK9fq9yGJePpChsjfHCOXRQtNWzl0ntjle6IxhHJounNKHF/xndbYaZlnfk/EZ0nFIr8h0M1m/pnDzPqUHPBG9aD3iZJKDnKG9hVwFrkoykO7qj+HdshIZEuvfVhtBu6qMqEDiwiIbz8JQqN6q/CKrcQ672YB1hHu4Zd0vYMkRH3DlWYSdfwsJUZ0lLjkfZtSUUTGaVkHJAbNTbcljpZ3295/hlzIo9GQFw3sdOKidGGV7bzOME2mi8pVzC7Ab7EsdFRPan/UTy8qsgpiw2juaTGYjPnE4TAhDfS/wUuhy0+F9H6C5Q9LnYgFQ1hR1P60y9Di8W9UY3rjB4XSkN/WlAFkb1fIgarMr502zXfBNYj2tOzys6eVo4HOZMlzTMR34xLjv7vp8CGG4EobEt0Rw0OEDpHTDaWtjw10KTlM4mPjdgYauw2MvyfRp/E6qzSbnYEUPJH2eQhdtFML8jLTJSbyfEaW74AJO7GI1Qx6euitiJMLZnl1V71Lfonsf8Q4nWCc39BG6X/LZSbWN+ytw6k+SN4fAeLHiJTrHFxzYhp8Oen4RNP5rVQX2kcbOuUSNpycUXpMUtEBQJUkvuUFlvb7RzhlaHKR2OBlurGPiiYIj9L8IwV2x7NCVmRtxMykDQHdRBnTlEIe5RHqD4fDT2JR1VkRRvP2p23TZ1I2jiZlGipo7EIYJ6LOvGovCRl5mBbehr1t+zq/lt2WBOzTINxMJzpJaiUPaHL2/WL+932gMqpksr/tbiqv3Z1pvA1H0mXTVI/Gj8Q28nXITp36k7S5mTOzCwblMgbBI/Ywi305rGb+/lvtpqSJ6qaUkUWNV0ifTTaJAmNjaQmKmRWJ0QaMRyUKQ3IRSMHHoul2raXVoaQtKEzdcEaxzEwLw8Mog0ROpp6ORJaadrNbg6A1oslSZLhMi69/RyZ72+EtFn9ac2Y2kAeLci9kaxJyXH4bd2RdWkrULf3BZ8Fkc08F0fRDYrewAkPUEb1dujHICG3zf9EZxXfF039vpjrtglcaq6Z4KgzmTTfxpUSQK7OdU6K/+tFWzDtA2hFutHqS0S26GqW43wZBhxJabAIpF1yciFXpOQRgqIol3ca0FDu77A1lDUPriv35mbzs2cYV/fZabmA0d3bOtd8/Nxmq2g+f5KAYgqJ4a/j6OdgCR+WnFVnUogyGeD72GEiOnTo1QbCTptXLb8O9u3h67z0vCy7DXlwB6khvEFLe+XxQJwtSRo/BtrY4Q4C+dWrxNTWnLhnn+ehV/V6SJk9DBmuIPjaprzdUQgFp18bAE6TNARZRdIiKW25nKY59Whrv5q77KuD+zkPYjLY8a/WP2G+JMyOawjVXE/1MnxBXzN/bxFu+X2DrhI0aIQBIh6BDJ7vHMItyG+CWACEYcjm6k6beVILqKZE7eURMMd3HbonrrjkGGfqGSJCaRW7/U+zV5ELY8Y7pdj8U9VU85JR8fRqE5BXEdbmMLhNP7gOiyJTwRxGKAYxZHN/VZGJt90A9I61KScDhkxDuWtvD9Kn8SXh+qiuwi0jWhVewNrU8cd4ovcIfabdj/CYoRV/fSaPUXwL2AbRvRmGphGBDiGA+I1R+rBYOmdEKHnG9nYjWoVQk211vMVnHi2ebQs5uzE/rNVw1nSoVKKb8MXKEY3UHcLlSRJRdfDxmy8/BG+GSRWTUT/4FSa6n0nx1E0KGYuJIVxP6vvM4JJJc9NB27niLzS9MbtgZcG/V+kyB36u3HZQWt2tyn2NkKRlbaCKBowtPWuXDQ9syU0vDXr6VEFQanVGSbnOxHLE/sKdpNnbYHK/JpjLIiQUDUJYXodWK1Dpo5aeS7Pt4ERUM/TK/jfzrnfIR4SlRNGItm2FzViCg0tcczOgAa5fFo8+sdHDQT5ZUr0JRsHF1mALc8YJqb62jCDPoJL/en9T9h0fVfLI6LxnDdHyH52J4uJDXR8J2SuD9JClIiQhS330RdTUKvtgZL5t1hMltNDR1eYQA298s9JwrNFGBZA4rAxemH491WlG6Cprb900QZlJTfcX3KvnV+5MXdlkB52ADvKJnSVL4EIsw+Kvyu0bjJnA8ZJLXlNW/A0pk3o/1Rs/WJZ7quYDSKr6N/Wduwdens2gIu8I5PDuA/WbIW4xzWZYtXTGzBEPLYHAbnAr2gCgHDJJLkUmLPjxJps9JwYTC+t37fFnAFncnunSUZOOCwaBG2DsGjUQ7+ZV9KjVXoHCXio1vGOsUvVcGFkeGEludRGa3ZoJRBeZwMzo7siPQ90RovRyGTBJVGY/We2DIIXX+ury1UbAnPw+8aZ6vPRaK2l/FKwmwEwrNc1L5aZqvyBg7o5+Wyb++V16OtD0HLKbt4Rj+UGy8HXHdaLm2PLY7IK9RM2JRQKnKMFwSmoUcyC99sTVwK3/7Mn6aKz0R08iwO/QIxASx1rHJRvlYq6NqC1bWJB6tezgsNpWySN5bXe+/mLeTB6qXlY8KVX0V7Nu2uxi/z7mjJuBv4lsioid9qGDItZ58THF/+H99/9+o5T/PSZYgRLYWMFgTn5AUo2IUwgy8kxmpantjsz0VwT7XENp9A7FvpjC3wDbbON/lIGXvX2UQmHh1vkLInnvIKzoNQIHHpvJxDX2Cg2S74VPokI776TM2zsl9d2cjmNT+kkRYs52EAHv3uDwSHqR6gYCCN7P2++XY9eU59OgUsc80fzR3wdAvP67hFXOqmvi4eM2IEkSVHNnsy3/dpxtQLP1bGW26c0U24ECfwCHXzshegyULrX0zQk5XPoPSBciJMyhwlEOpILYXSMSOYg6KD1VWXJIsAxmAFgIViVrRFuJyjOnHtGMil3HQoutHpmarfYPVPTrZ66OLjaIHE0pN/QCuQfPY7pwuSLqbZKmrQ81TJexLzOm23vdVhLx5mrhZh2rYmGHSsbliwuWWu0t4g9acUDMRpht/wCoc8wyZjsbOuhKRlGsN+RDSWRIXDpzE3xTTqpa5bOfWlVlBRNatjoDc75XOLOeZ5mkSSYn1f0lk73hPSdnpcJJhiP2+t8t/iBC4Uk5BEgMQZdR3bn/0lEBR7pHLsSBNn7aHiPHNkOWGrvV5cJyhfbO1PAZ6ebBlqLi+FR+wY983F5ZGxvAMh0T2qfbj7r5MNxpG0TJfOUJ50STe/sY2FbdD7DPgomUhzxMJEYtJhLL8r569K2gir92XXvskYMxvamTj2iiWxToDWQs0iP7ZTj/IoXjCMkAAthICxim9mB5nXc8LjxaLL3dTWilyLnmDqOf1/lAD9zRkLCPOaNj0JWZdmFRPIiuRTThOczMJB0V6UWgR1dJ492Ghtq548ccUzGX/H45ps9pd0GBjOwXjalxm41BDBulbDiunVhxKmG8dPgo8DWvoAuVgSHun6u1etzNMCP1sHZRW2W5YIvVppp3l5OerJvUdKZiu6RFcMwERRACQiadcTqNZh24QOe1E4dsuK1aFnqBr4PMwrmdoVo0QvTZB9K9ayODWNV3+rf/k9rGKNwZ27csuKGf1Gu6B6Q+lLgrDn0Asvdl+L9a2/2NXPjFAyAmxk0h81lfAqvXYzPYVeoz9UVzTDfdlbCsMykXE8vSBpw6SQMMxrRHM2uQ59rAlecA9oAaDmoAGV8I5dMVBtN997v88V5IN80zaKDeBv+gqqQDRSvaflTFgHpGX5fOSQyHcSxiw0Cerq/YyTMUkU+voZ5YtYbCTsjNC6HhB+5HUDioqVkeAX8U20PBmG7inRGgry4NnVHfEgHVMnKR8apd2tLnquD5i/DkqXdPR8kqTZ9HCdS+fk84rT6JAOAvyH8WLxTYBGBQiWajasQOvv86tM+LnE2o+q7DUER5LT7YN1uvLOc+jBohJ72JigxlTwto9YsmfGii2I0dvOkXsOSYZSWXj3ECOc3EBUMUSsn+EPeucXP0XrX1RAkGfXtW3wsskjDmOnOWN3zv47q27V9sBFWCWtdO/VHea22oTgVfG0DFJaIOTsHtv6NFvFOr83PnY0z59VYKGDJOLQplhr4VIz9QB/7Wyyj50YBWSavVLuJtQCQOBZfZ8wPmYwD6dae7HHIukwoVB7wtaVXb2f9bdYebc9J4TgkH89PpsQsLEbksQVxQU/AB2MFFEbn11yJuuV9/fUSM3XC226vDMEDmemXu079MIASUpcdB8gcB7iONxwkEbeBpoP6yZV0K61ezqg6X9mEHuocSo/pdeEeeSM/zERyY6YyGONpcxetpQXWkzZ3Dne71p9f4iN6DGq9/8MPcY7FtF5qE7/NidCfqTzMVbs+S1QiIYWLUO2uP1HyK4AYY7NPb/bBt+xkuBom8QZHMO+VDlfj901AEV105WbH1g1lQ8izwnOzPDCjZMG83tXKdomcABK7fbh+1+gi2beTBv/2HQZVIKyCfiMq+zbpgBsB9beoMhREEAMRLEYEac2ml3gA6PlxWcbLDNuYB0L+lRLeDuzj6RQMZh97vldXC0u8G29GHDLQ1ViIswhec8SOET1OplPBlVXF0yp+l+5slVmXt/K3eEiyHDu1kM5mkJ97zuQYfmSNh8jpKQDv7D4AFXpSpldqYQjoII7dLm1afLJg07Xy5eRDRv0ghJ7GMVwq7V7IfhulH//mJLCGpNvr96MsY+u8M6TTQMt+zs9OmBfNpNixSuISYDStaxHngWbJY1K+NTA5z+5BrJjzreSb5eX6GwOXZM/IpvNtRPhR+a87K7Q7YSANLSC6ys3cIRsw7FJfjtpRXUETy0ShxTahpyTyrvyEvsa8Cd0LM7LZspGe6zpGqpnaA7Z6WgWlfT1sde3tA6DZlp75h3o3KRDq/b/kgXHAIpDD/RDRBJNEzUOGSa2I0J2dOifUbFDWOwq+mI4Jw3mz2l58QFPr/S3B/iUpZKLYk+ecZOgkbKdFtp7QNPfnkw6eIqpCyAMb0sy2iLMOUXaFT0rSwLqVPA0Y89uJt7U7UMHKy0dahksSEdDwsIHkSXBBuDZ5IINIfMY1c21uu1h9wQMAy372JeRqg38Q5InkMNRmXhkgR3WPdV9LfBOhZSWAL3NMbbGsNsv8eqKkMfUWc+khS+VOzPfjjUcwcErcE7lmYGOwmiHcUjlathqRw7z4DXk8ajBYiW123H3smJxOhc1aw8vhlNflvS/LlA0vaF4zdWMIm8TJ/xwaa3KOnPw8N1Vbyko2WAdCSUQOJk37wXTtY1pW7TIjnmTWCT3TcLECi6cI/bNfMjQze3dMDoQnypmQquOCsi3uoD4LwEx61IChA2JPjlx/sIt4sHeppwfTMv7nwZzgG958op/XQTtmf/jdD4UohCySSW62e0QUYLnIIgRajNawJOnp3RY59TW/IbCQk6FN0LMCCkUY+rFNZkril2eOhdqDvQZyTeAuXDi4jNPVnKUzkHoRlCZ/c+89QL70yBE79P90Ht/+ooVFkpmPBOrbBEvSXxhe2GFj1vEcxEn2svMmLipPmiUCfifh0K5KWwa34+o4CPd4A/Od6snj8wzZlGvxagtxGnnSfZuZb3EUfqghtFD0a5innlCP1qD6aAU1VveYNjHQ++GQTJXrl6JjhI7IG8XJSNLzRH0OEBhOQBqtJVQqpzPPu4H6gdCtH2LvAcgRmUWIfrKvROe7juRqSaXE1assaoUe3SqpHRlthzyFcIJLeTwu/L237B/D2sG/BuBpyL19Q4AfV46+ejCxIp+zkQgu84Wkh2O4uus20drhjjMt6TfeJldZlI1uWzqIzesE7t95yP+cSmQ2Sn/sgUnDKO9BQsDV0JugtO0mzQsm6Ie53kU1L2jc006aHxXtVnicdVBNs6HylzW0eLHCEJnR0ZswKdittidtnSBoQ5rb3gI2XwVvD8s5m2GACQ8r3UmcqTp6mC/NEU/Mxky7in2CIMioAjTHEaskXkqZu63WOBtKYi53G4pNopr5JNZShcvVCm70VTxKRKE3LkVOkzA/HJN20Rrgc4F4xzPpOzybtBURhaKZIVH1aJUnFxGBi9ZRkCtlUDyDIv9gs2VV1yyYSoq0sqExunq7blwczgOaf8UF0a8yot5bQUVVnIIpkaDIOsWji61shjIC3+67MoUPQQUjhPbgHEdg=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022238" y="1254305"/>
            <a:ext cx="1978400" cy="4169381"/>
          </a:xfrm>
          <a:prstGeom prst="rect">
            <a:avLst/>
          </a:prstGeom>
          <a:blipFill>
            <a:blip r:embed="rId20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 smtClean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Пример новой структуры тарифов </a:t>
            </a:r>
            <a:br>
              <a:rPr lang="ru-RU" sz="2000" dirty="0" smtClean="0"/>
            </a:br>
            <a:r>
              <a:rPr lang="ru-RU" sz="2000" dirty="0" smtClean="0"/>
              <a:t>в классе Эконом</a:t>
            </a:r>
            <a:endParaRPr lang="ru-RU" sz="2000" dirty="0"/>
          </a:p>
        </p:txBody>
      </p:sp>
      <p:sp>
        <p:nvSpPr>
          <p:cNvPr id="41" name="TextBox 40"/>
          <p:cNvSpPr txBox="1"/>
          <p:nvPr>
            <p:custDataLst>
              <p:tags r:id="rId3"/>
            </p:custDataLst>
          </p:nvPr>
        </p:nvSpPr>
        <p:spPr>
          <a:xfrm>
            <a:off x="395391" y="1110076"/>
            <a:ext cx="1584321" cy="459100"/>
          </a:xfrm>
          <a:prstGeom prst="rect">
            <a:avLst/>
          </a:prstGeom>
          <a:blipFill dpi="0" rotWithShape="1">
            <a:blip r:embed="rId21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200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Текущая структура</a:t>
            </a:r>
            <a:endParaRPr lang="en-US" sz="12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4"/>
            </p:custDataLst>
          </p:nvPr>
        </p:nvSpPr>
        <p:spPr>
          <a:xfrm>
            <a:off x="2410458" y="1110076"/>
            <a:ext cx="3704884" cy="459100"/>
          </a:xfrm>
          <a:prstGeom prst="rect">
            <a:avLst/>
          </a:prstGeom>
          <a:blipFill dpi="0" rotWithShape="1">
            <a:blip r:embed="rId21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200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Новая </a:t>
            </a:r>
          </a:p>
          <a:p>
            <a:pPr algn="ctr"/>
            <a:r>
              <a:rPr lang="ru-RU" sz="1200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структура</a:t>
            </a:r>
            <a:endParaRPr lang="en-US" sz="12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5"/>
            </p:custDataLst>
          </p:nvPr>
        </p:nvSpPr>
        <p:spPr>
          <a:xfrm>
            <a:off x="6451099" y="1294742"/>
            <a:ext cx="2348210" cy="274434"/>
          </a:xfrm>
          <a:prstGeom prst="rect">
            <a:avLst/>
          </a:prstGeom>
          <a:blipFill dpi="0" rotWithShape="1">
            <a:blip r:embed="rId21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>
            <a:defPPr>
              <a:defRPr lang="en-US"/>
            </a:defPPr>
            <a:lvl1pPr algn="ctr">
              <a:defRPr sz="12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комментарии</a:t>
            </a:r>
            <a:endParaRPr lang="en-US" dirty="0"/>
          </a:p>
        </p:txBody>
      </p:sp>
      <p:sp>
        <p:nvSpPr>
          <p:cNvPr id="84" name="TextBox 83"/>
          <p:cNvSpPr txBox="1"/>
          <p:nvPr>
            <p:custDataLst>
              <p:tags r:id="rId6"/>
            </p:custDataLst>
          </p:nvPr>
        </p:nvSpPr>
        <p:spPr>
          <a:xfrm>
            <a:off x="6423491" y="1564233"/>
            <a:ext cx="2445066" cy="36000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563" indent="-182563">
              <a:spcBef>
                <a:spcPts val="3014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одном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BD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дновременно доступны тарифы всех трех тарифных групп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 дифференциацией за счет кода тарифа 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are Basis)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spcBef>
                <a:spcPts val="3014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ассажиру в любой момент времени доступен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ыбор между тремя тарифами с разумной разницей в цене</a:t>
            </a:r>
          </a:p>
          <a:p>
            <a:pPr marL="182563" indent="-182563">
              <a:spcBef>
                <a:spcPts val="3014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классов обслуживания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мфорт и Бизнес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труктура тарифов изменится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налогично классу Эконом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ru-RU" sz="100" smtClean="0">
                <a:solidFill>
                  <a:srgbClr val="FFFFFF"/>
                </a:solidFill>
              </a:rPr>
              <a:t>84_89 9_84 267_84 106_84 125_89 126_89 127_89 118_89</a:t>
            </a:r>
            <a:endParaRPr lang="ru-RU" sz="100" dirty="0">
              <a:solidFill>
                <a:srgbClr val="FFFFFF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55610" y="6736623"/>
            <a:ext cx="6962775" cy="10772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чание: (1) На слайде приведен пример для класса Эконом. Для класса Комфорт и класса Бизнес - аналогично. </a:t>
            </a:r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Одновременно открытые тарифы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7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>
            <p:custDataLst>
              <p:tags r:id="rId7"/>
            </p:custDataLst>
          </p:nvPr>
        </p:nvGrpSpPr>
        <p:grpSpPr>
          <a:xfrm>
            <a:off x="6451099" y="5258385"/>
            <a:ext cx="2281705" cy="867279"/>
            <a:chOff x="6451099" y="5258385"/>
            <a:chExt cx="2281705" cy="867279"/>
          </a:xfrm>
        </p:grpSpPr>
        <p:sp>
          <p:nvSpPr>
            <p:cNvPr id="205" name="Rectangle 204"/>
            <p:cNvSpPr/>
            <p:nvPr/>
          </p:nvSpPr>
          <p:spPr>
            <a:xfrm>
              <a:off x="6741146" y="5478840"/>
              <a:ext cx="129600" cy="158400"/>
            </a:xfrm>
            <a:prstGeom prst="rect">
              <a:avLst/>
            </a:prstGeom>
            <a:solidFill>
              <a:srgbClr val="DDDDDD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TextBox 205"/>
            <p:cNvSpPr txBox="1"/>
            <p:nvPr/>
          </p:nvSpPr>
          <p:spPr>
            <a:xfrm>
              <a:off x="6843188" y="5450318"/>
              <a:ext cx="168510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- тариф класса Эконом</a:t>
              </a:r>
              <a:r>
                <a:rPr lang="ru-RU" sz="1000" baseline="30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6741146" y="5754076"/>
              <a:ext cx="129600" cy="158400"/>
            </a:xfrm>
            <a:prstGeom prst="rect">
              <a:avLst/>
            </a:prstGeom>
            <a:solidFill>
              <a:srgbClr val="002A7F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endParaRPr lang="it-IT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TextBox 207"/>
            <p:cNvSpPr txBox="1"/>
            <p:nvPr/>
          </p:nvSpPr>
          <p:spPr>
            <a:xfrm>
              <a:off x="6843187" y="5725554"/>
              <a:ext cx="186242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- открытый тариф класса  </a:t>
              </a:r>
            </a:p>
            <a:p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 Эконом</a:t>
              </a:r>
              <a:r>
                <a:rPr lang="ru-RU" sz="1000" baseline="30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6451099" y="5381887"/>
              <a:ext cx="2281705" cy="714591"/>
            </a:xfrm>
            <a:prstGeom prst="rect">
              <a:avLst/>
            </a:prstGeom>
            <a:noFill/>
            <a:ln w="3175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0" name="TextBox 209"/>
            <p:cNvSpPr txBox="1"/>
            <p:nvPr/>
          </p:nvSpPr>
          <p:spPr>
            <a:xfrm>
              <a:off x="7250743" y="5258385"/>
              <a:ext cx="682416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ru-RU" sz="10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Легенда</a:t>
              </a:r>
            </a:p>
          </p:txBody>
        </p:sp>
      </p:grpSp>
      <p:grpSp>
        <p:nvGrpSpPr>
          <p:cNvPr id="267" name="Sticker62231"/>
          <p:cNvGrpSpPr/>
          <p:nvPr>
            <p:custDataLst>
              <p:tags r:id="rId8"/>
            </p:custDataLst>
          </p:nvPr>
        </p:nvGrpSpPr>
        <p:grpSpPr>
          <a:xfrm>
            <a:off x="7752827" y="821348"/>
            <a:ext cx="1374109" cy="186065"/>
            <a:chOff x="8002458" y="1343024"/>
            <a:chExt cx="1775152" cy="247652"/>
          </a:xfrm>
        </p:grpSpPr>
        <p:sp>
          <p:nvSpPr>
            <p:cNvPr id="268" name="StickerText62231"/>
            <p:cNvSpPr txBox="1"/>
            <p:nvPr/>
          </p:nvSpPr>
          <p:spPr>
            <a:xfrm>
              <a:off x="8002458" y="1354196"/>
              <a:ext cx="1775152" cy="225307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ru-RU" sz="1100" b="1" cap="all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ллюстративно</a:t>
              </a:r>
              <a:endParaRPr lang="en-US" sz="11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69" name="StickerLineTop62231"/>
            <p:cNvCxnSpPr/>
            <p:nvPr/>
          </p:nvCxnSpPr>
          <p:spPr>
            <a:xfrm>
              <a:off x="8035524" y="1343024"/>
              <a:ext cx="1731023" cy="0"/>
            </a:xfrm>
            <a:prstGeom prst="line">
              <a:avLst/>
            </a:prstGeom>
            <a:ln w="38100" cmpd="dbl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ickerLineBottom62231"/>
            <p:cNvCxnSpPr/>
            <p:nvPr/>
          </p:nvCxnSpPr>
          <p:spPr>
            <a:xfrm>
              <a:off x="8035524" y="1590676"/>
              <a:ext cx="1731023" cy="0"/>
            </a:xfrm>
            <a:prstGeom prst="line">
              <a:avLst/>
            </a:prstGeom>
            <a:ln w="38100" cmpd="dbl">
              <a:solidFill>
                <a:schemeClr val="bg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ctangle 50"/>
          <p:cNvSpPr/>
          <p:nvPr/>
        </p:nvSpPr>
        <p:spPr>
          <a:xfrm>
            <a:off x="399405" y="1562670"/>
            <a:ext cx="1580307" cy="157220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9405" y="4292286"/>
            <a:ext cx="1580307" cy="95665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9" name="Rectangle 158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Qgjk50sGUR1BPoUJefjrmDwNn5yJ5VIWjZFd4eH2PLgsLRex/7rnNA2qUgbrC5tHdRfubS4Jsh1YZ4Vcx0UVmuY9mLs/n2qegr6GQzakUrPIVwfIB0WXkgndcFqahGKO4b1ddGelB/BTW6naoSmuuHGBUwHEZXPWJ/GE3fm7ki3Ba2SFnHI5Nawh5E4TTs1na6akgFJrYL3QaFwhozDjCvddHB4bC72/j0qiOn9nWPfEljLVqPSc7VQaFbZ4x/7Ju6oz+UtlL3tj8iMlj9yB7nOQPJOGHO17xlid7qVjtDk6FWW/aa4F1jp1V5N56lHFRU2MSD5if0qEdbwdo8jlnxaxpkage4MjXIBfI7iEaPKLvTYbiyela1hL3s4aE739B9BLJgEiQUHvN1NQGCiL5ZFoKzRsCJI/BAwvVcTXujR+kjzHyPrA+Xe0uxd23KC+MtZ8ceMwRLnBGd2GXAX1Er4ZrDG9InW+eOUAfUneUme1ELY2RtHH92/RQg2U0fnpWojX4gMOY20kDtMV8gXghNJkrblH57QCfKeO1Ve4XE0MvkSP4+pu3lsegQQlLYAVp/BVK/p169dh+fkK7SPtM8krwOHnz7UcBoYv78llF7VoDSsyMDiEllxHAgMuW+icXRqP86Vqgb4vliJH69X6NII5jFwC/IT3iwaH/5AjwvAsCRyrc8AHlgk5yDddTP13AFLWPmhcSibp+RPXqVcg5iQQaeiYXSuVx5k4LZ3Fk74sbNCD5KEv0MNzc0MlsU43PZIBnCIETMs6mKfSie1PdA1+B9y/yGjqZPazYzmnCNn0asnofB2fOXI8UcubgC58PsPkswSnINVig3sOcnKP74+pbi62mCVQ5cYtbYA+9HRZ3WscEUXGiULMB6ILIx1dz9NRAHeIUyr7r//LA0Uqc6R2m4nSCYFib06mBe+33neA7J1G2f326TYZLHvUkpkIEZShaN+dbn3qjhKpqG4ztR4hi9OtNFKd6b8nz+13UxN0NpUhyJDDHSPFdnq8pWP9ubE1Jm+f1MZA0gSaEnrg2m32pms0L/UsdVyv4DNXRtWQbtB7wdn09CupMbtnju3TV3EJuKC2vrOZpE21giSFJ2VHVU3VmqH2RCkW+yh5PVkZGTYoJuSC+INPuK+YmR91ytFx/IASjpXBdR878NuNUXMripW+VX1fs7Wwsk7uWFfjLk2zKsbrkgJqkGw+KIdl4BWluXnEGRhGxC7v20NthtY8voFe9GyMji90NFVkMKlaxObgjyVis/uWy/ObaEdRR13kEPjyzCxDY7qjOMNwPNkAKs3eWskyj6/IeGphcyrYf/57lQeJLALAjeQOKkYj8t+uTTCxZE3KX6kAxQT3A63quZgJpA6c45C6O+r/x2dYBLQ2WZrwouWccXNy2blxzVC+gE7v8+9SWy7IyJhpkn3r0kjWYMp76OxYLWoXlNNavVEtmMvyJB8DVzooc5+yU6dfIUTgX4kyGn57CGUTbd2FBZsix89a4NaWwsFXsRPuqjOxSX+MBTxgQoBdffFhG+zFaO9LxrffYJry4xXWalev9Np7NUPD8O6sQe3wgF9KlCnRwPdZFXl4XZZE24OhS+pdG6CUNgRPxLQw9e3pWaK/PZLGIk7av0MdUn8yTDuz8W9mUazpOwKVsELznaDkRGJKyXt2Lf6Nd7JoWcpiLe1UBsDeXlniLs1nP+8OAYbciZMT7hXYi/aBRvRHvkea7M3ZTzcKSrKAzq9eoUWoc983dY/fGT171roQYCzNmFzwt2KWOwI4XS9P9YqpngX83Z1RpmnSEzcTmF/lcnhKgLwN5CUDIPNBbJlkhlgFKrw00xpASmJkbjZIEfVxlbz6tO7a4ss81vjEgT+S2jdqSgTNHi105kCHE8Dc/xXoqjntsoGCFJeCF23QCcgz7tTaum5Tp5KJdcAjmHS4K7BupCSDidg5bpD0HG4p+3+OVIZcH9sLgIWc/q2zNh9OvJmcEBMinb0m0xOPR9NEIcA8W13iBxCyjqCZoZCnUDnLOH3Xs0Fd3BBS9AdLc8tSXyFKSJDsw8u4KjRPnB76WsPoYH90QILPWQst+DpuQUbFKJcXBSOQy9ZHE605uWEirfTlbvX059lii3Y/ZCvWtHP3ZL+Bgn+2mfqHkIxkCtt8dFR+DE5o+xE8yUQuV5TeJpQ5+psofL7s8gLWr5CnPSzApAS9PHzUUrGQWHQIbqGCXQRl1n77wzBnwQnTVa9xPYF54oImuwXdvWZ0qVzb+ILYcy5Ov3lQkwe0rVaqfa+0CPcu2YeRu1wzBEcEx6whwpjsxJK/MlrjcNUDDxhs/NNBjSioyrxPpmwGTZWCsUi0t7fxUsXhieXpjMc0X4JbQelbPNwtIWLgXx/SpamHveMx8bc4/rNju5cPXDCwwmlsSp74MpKov2AbVPaC3daqlI6F5hOrAhnXJydCF3slORo/BuaHxdqaTV6w8yeobXDs2Sw5L7AA3g85UWBLwFTQ04cW1iUnzIRGljgmp6ZtC8yyY2qAokmeVbmIhd1YWxkO6jRTjzdOzgq0xOjr0fL60IcfuBCgGel2Xl5An4dIdfOKonhUW0QJLlUNssipnzO00iQKzsLEBVswrtz4ePiLF7SYdXAN6Xw0cuU8uUdxpk+sPUeTUb4zaWFgkyNM7h6xzomre+Bd0NOCSR90z560w9sZ8fSJgcLloMHZBSGmX5zsSYMpjFFpWkn7KKYzlxOJoyQ7zxCZ6fP5tGsElaBonlQyC+eX+yMnY7mLK9oVQBx706HwdQQFWebACpSppom+bXisu7g8CgkvFa87kLWKLdj+B32Cn315QLM0brjb1oLYq31J6pcIJTyrMrNuC7ie3Mjqau/wcW7QnP4Racs4lUD3xV2PuT0N+7ezAqL1DMglsP8nd/mvUojRbxpVxHmPHa5v1FEgKkKdZ3B7WNekU+Ii+cj+fpo4p37czUUkHzrwX22T+i0u2pAYnvO2Rk5HF7+fVp3kgkkUNooeVRDHA8EBVI9gcdH098VOojEGF1MuBuZTRq4RL/hNL7tk7jo+gSc7Z8mtG5SFr0DAhufn6aHNQ3xJTf+CoJ9FyjvJ7vQw/HO2+Gv5Ic5+1u+Q4/dF0D9hUp5BhVjg3PxT8DUdDXxIb3NcVrjjMp1EdIjL63HnQhdDIVxz4mDaFdGwdVrip9gqtDKT3sUrUBNi7apZM+R0Q23geQxb+tB3WGiuUW1D10CNw6cM7BvJ73iZPX6uuNdJG0Xx/U2lBbu/yKL4mpM+TQD6ZuRKyaUB0v5RRxs94eApw1WTViYv6ymBEBDX0q+VWBEbnVbQ+SfPxh1p95ctV0T1tLv7kMCSNnLicd0/0eLsAKCCnghE9/o3zDkt1nyEV6N33Lb/LQXa1vBAKdhW+qM4ajbBaK0oaEUXa2wI13dDua+D7leMBHXl8EATwV65SnacYLkOyMdkeMeP+C9c405t8SW1KthYlz+h/tq2dEOi6PS3JF9hkQ7IDBN8JIETsLs4D+w3ov5XIOekNle2PMujTrpRdJD3J7r2NEOD0BK3u6hvTDvgA2ufOnSQ26nT97iVYavt1CrvFJOaWS8fOMPDpPXp9KCsnSp/UsledxQOyA72xSsELLnqZyyGEWTouB+lpOcj7/3utWpMTxsuSBcUEF/1dRFuXBN8YKwWZ0/jrJiUrYhxGlRhXK/AxemFOVnGHBWZ3kYcJpspPS86gNqmbKrqX6xOltUCGbx+vdBv657+RUEkI8O+9yW9g5k8q/6q2yFepP8ReMcZWRrTsYX9Ne2SuiGtUG8Vk3mKbWPuMZcHKQSvp3sX7GHLru5TEsvzYh3s+ZoSFIVPAIoUoRZM5VP9EIRtuxY51lehu3Q/A0s+typHHXyefuD+BAPNbrZJK3iIBImSAc7h5Brnl5Nwd+6w+heXPkwupk5Wk4ASgeo8X3CGVSE3HjrMQinVUcSE1ZA/CwtcZoba4+zafeeWGFXHBaMyFCCyq5YCvPFttP8CmHvCiEiJo1BexN8XQR3tbt2k4MRhx5+xHcOMFcxo9bGmoDIVN2QlZW7TSCyg1zJMC1WT7j0eSBv2rt7kCRllyJ+xmyqQ5BKarFWmkNhlWImJSmIa2SLaRBylwTVK3P5nuSJ0TT1agXrZyUpYU2+vvb9rCQsx/9kk1WSaSmwS2S7XxIoCmCrRdGrymR2QcRo8nG3+nhaIhGZMW1FTCbXe8138mCq7ZyOsPzng8pj0vElS8LQehfAa8yZudQAHINCaZ25lWEhiRLKRzuL4O9UeTecNy2BZSG+56FL+rTE6cmTfX+yJA+eTQJvuhg5d69QDp4wD/XD5xHVQHqCMuViN1XKarNGXK/yFOu43rr8G+h+lMcAQRt7GMY+9uEby70t5uQPj1a5d/qmTbHMprtFEihNUPzc4fN2y6M3ywmei+sL2RmmRr8jtRNt08O1JjhQWBoUw/Mhw6QWIlTNpkgofXfkdsgrb/mmk2A7BCiBdxzdilqDwpsraA42kE+0Gw5M8Iuy3CmfoaZimbHkzAx4Gr/fuR2bJZdj/X7QQF0vEA16T4A07J+eSsK64jGPKFIWHGVRj05AiCOtyUziKSb6NxeOJxkXByX9jyguLVJW9/KNvKIV9kUb7ekBKD4wQvUoCCoPUGOCYDuHPScluos2f+8X56rXq6f0gc9dYj13PlOkYBbz/15u+x5/6ERyro4pkQHzdrjyq8CWvGdqMytTh1NT4yb98eNDlXbuOPQxYTO/Wfv/pK6CyVvQam+HTVMVcj+6PwTe0Rzy0EmH2+h1kvgyxCyudyWX79uM7Ocnixx12rlrWMuPPuVPPPTloSoYGvvwn6rOXnXAhYn1M8dRT57TxMIEVYJ9n55ITssMEJdtbsIbKrDRzA2GJsH3bl4+hB59gn7ADigOanxqJg8zvvIAh31mjffp9iI0uz84a+bbmWlNlnkGgJMKbUmdRIfeTL1vyqotS00yzGrn9SdSyashyXg4vVjeL94PISs5skauJxmrQPQztrucPjRORKdQfTqjFEBG/5zQt+J+AsySvP2nFvkKDQS//oQwDU0K8S1m45+XHmZmTHiALeHj9BH8aniJebLiPB92AepzMkYf6zUr4wUel640CxqfXddiVFX0gzMqOJ6O4VBqWbin+/6xdntI1HuiZsqjERkV8NwWawkuuzun7iTfRgxwFEmH+F9NSreQ69ceWL7xr8EvzCg678HDwAzSfPgwADbWRawLJfOOWBGSBxLCL8n5FocSAlOG1iRavXw1VTu/Fi9gy1b/vurTplmA/4WSAlQUH2Vz9WSfwIBGwpvdC5xzpFJ1AG81zNzRVa+i+1fIWk5u2YGLVQHhiPvj7zTsAJj6dBP3+EN6CqdN4jtv0wXXKrJDOHMju89c10LYVcOiZ+7Tpp3oGqUQZICX3g4Z1VIDyPO/8u7TL11bCJHe/0ow+7nR2d7A2DOB74nLi6CwOqeeE95bVQ2QmGif7PboIPyt9cOPOz7/NIhBW37mPWOqrKE3Cm+WhQZFD2m/eZ8JD4neccwN6kpooAeqrAld99Gn9EK04loE5ORlZ7tflfEpwzKOBwXCQgftB6YlxcykBcbw4ZoDbXyVVq5ITuqyJTxdH3NtbdbK6HzbO+rJ6as2K3tAUDvdGMBXFt/q58KLUMTIyn1BsD9539D6YtjCFSgw2Qb+ilf0NG0LkMjUTeiWs5BLv8N9J2hcpPJOLukGatoepa4UPwqmHL7cBvYTtJbiWxR16MuXe9Hjv+048hvk96Y0AaklSvmLc8EZ6nFucOzCTP1tjgA/oTxlz/XShzDHX+aWGU9fjGkB039T9ZDT1odABcUbOsPGtwhzUSGnyFNkgNW0LnPiGjrs32K7CYLT65QCFBtO12HefN8lNEu4bjvYJSqyIDr+Fie0u1JUuHMuGyBc5uf7Lm/opeQOR+VewS6BlCYIoFR7LktviEYYiyD6qjWpCUO/62XY741kQNdhFZ4kfrgAZJsoqT2gOCRi2fRhWZb9TxZUoaAAAJtkwbXMUV/K3MrpzAGyNQtbEPXObsdg4ewREpCE3o0kBRdovnv5DKGBAgg+Z+7dkd1a9T55GB0Oj6x6dylKE9ar7YU/XPdYS63pzqBW4xnVfpWSWtJNJxJd4efYkOxWKyPkvTF9F2UqReCQW+mJzXFNqY2ear9jIB7iW928PHZwwB/9ZwAVBTs0jWbdpdv6VKnR3oozl/ACdMzV+a2aR3iPMrONCYiL257RFXdt8EdJfScZBZ60IAbeYUe3cXItbBrLcXCMgX/v3exTzcpHyKYVlx+wBBRIxT9wAxvDOCGOdfzMsU0w47Pc0MwyTUnC/HAcjlYsS3JVz1avuTOKJ8QRfYPPb/rjbPiucXmc9GQeQBdZlJBKN8KYmYn8XNf0t2Zb6BXqU6vI/69f4Sy2ieVbjTcDeBW+/RWpEVgyTpZRQcn9KoZspJdpm0HLCl0oF1pTiduR+FUTywAFGEYNvy5AVFh85TX6FBzKoq2fc+AVIyy+0b4qZwRCqtvKPpibIoAhwK/IFrxeo+GOFs8v0tG77CZvagyHGg5vYR9e/n1CII3yW5hSEdXyCxmyL1x6wXDz2lLhNJowYZALB2mqQunyhdbDkoUlSrU6pm7f+jsR4Myzp0dQ99RoKO/YvsJK8owzIr8Ti8uAk0JV+APtQOWG0FKkLVv3tRMDye3cCS4UCnRAmGoJCNm2rTR28w6617r4WM9YtWhINiKLRSmO5XgquC7TFyt9ROppbyxRvUNRECZNjFq+REPsML5gIDPBnU4H4aj/BNIdZ7eFf6XtaMak1g21QJ4EhhFrQ/X6OxUcLK6y7LgoRJrc1eWQcrxO8ULU0q3mEc4PUmuG81kXViEW6txVymAyxk5V8fIv5jQ7lWfXStMpFlhVjFvY2yxo2ZyJFCYf8mnMc/cAF/KJhfjT02AumI4xpVpWoAbxbU4ZGNId6bd43kOgp5dxC03QHl/Navb7NUePgnbJJSstAdpWY/sd/oODA2QD1krsbo3wwgUsvtou3IDSAuWheYynjslbU1D9xVDYLx6pXqyas5cfb/vzk9ju1PDpLXn8pAgx1HxvDOgdBUNxkuSzBMfl5tBAVy2x9GMyYetDYYe4Q2T5KE8TxwXGSO4ssA9fKnrJz5Zon9DoSU2JicCjrTyoSFdpmNZQyADjonvWBMFvOhMGhevcMrME+3Sw6LW/Lzza/dNwZXRDayqZ0Z3cXNpbMz6byCNPVfmfeKt9HuY3J5x8LHh7oEjZ8WAmbQnxrK0u9E7KStTV4FuukUvi3nfKeti4A+z0yRLKi2V7M3y1rARFQ655OKlpGw6wL7mLxgDLamI0n9xmPGAleVt4FkFtmaPSWAcRMWj2m3BX6pKf72dWwzqn4WWx6dLzAjo2479WzwaOTxp9dn3Ycats9q6diAWEbH8uLv81+BuUga18/K+QKgR/a7QiXnHhu5iVl9d5v6p1FMnYfLfAeIBnDse/fIZfSWThW5U5MlGT1u1kQlM3gpVd4wvnmipU5Sno1Me247X1E+KbDTsbOM9k2UfOcT6f0Z04BzMPgLFcYe/vGzXxVJGiLs+W8ZYvqRvmwqczKACfOJzEv24QJy4Z/00vETf7DyV19XM6NPZvGfgR94x/9bd/SRFpjvyTybr/PdT8XJ37XMnKn2W4OmYsRXeKc66+XBhgKRdXAsn2M71BktPHEU4YZJl++oO/X3TCbSwDKck8OE0ziNDV5loKzq2YIREkWlkgNRnY43xgak8eqsXbIVRiqf/9ZHkM+JBwDQHVlTPwlROD6JWr63Nk7I6fZvBHCn4jWTP49SDugv6uHukV71o/QQ7MliENBaHDXHN7SywIcEjxorkzZ9CEChis/m7doe/ne7mM/B7Xl+mZFhl7hmNI63d4F1ypfC8f5S5asEA3B+odSFAmIrGpZbpL3gw+de1IXzdtvVWksOLjo+6BZJy2IR+7eL7xcVpmu5tbWGHqLicl1Kzir+C/ylb0BR0wCqm4H/yvYV/KLJp3IRqUx++FucPzAgpt8DfFuB3wJZeYnR4x3448p+WZpp8VqotUd+Fi/Ky2LzMNjS3y4cQ5AZBe9iRxbo63R5zaglI0PZ7hqX4j2qjy4mELfEmyiu6k6g3FmEUFDO65S3syStbXusCfk2eLY5F85bA4JKUcAGfCQbSjGMOfDXO9DAkxeCCB36Z2l3vNm8igzXvS4emIhVrnCP10+79mz/AmEiStxYQ7tIFFdWFxyCw5mqGgBiQsSuODr9NgAPrjzw9fnTRpevNZRNpN86boEGVJzTH0a9SHmR9lfv5EaP73XJIXLwISxi2/JjKFP8dT214DK6ogxxhnh7L59/VeQ7A0X7H8tG8jICEQaDt/u7z/tr+4oUTW7BZ1Amyq0iLHxyuevpqtIBnmN7aN1Z4bglznzAeSzgDBW7KelK5jxxE/o5oGEnBeV6fqMo1xQfx0TPewRKmiUHHO+LhJKXFeKdiDQdXYRBcC6p/8amWKtfvZELlTivL8s5wXOAkE6k7nS1Vy2ZA2PEIJ+noOF5WBaK9vkn8zVslCTw2wzGfYjJrURDdYAiYp48y0MYD3ohO4qAqQNTCHi7if1uuOL4ueh7nQEYo37S8S1VTEWxKg9lsj2OHZLbGJpozOyBbfx7pPqvizUj4KpIvJ5S1PJz5jWVpwS0k95iGdXY+gelMLf1EGAyYVkO548XDxK+tE4+IoTmZo8doyBW7ECu9yxvSXyvklIcs15EBdzFd4rsIxrHEYI0668eYM91z9etiEqUIs8TgWDITWBQZHWnMH9TKSqCR95nvVpDwxhZKrLxxteqwx1ujguLUvKq0Q5BcYniB+qYzXg6wBCeVW/sOxEqtUYegsDKySn44Hu2wA9T/SDoET7pSpT1qeXc104uwYxVkub4KiUVvOAJsq7G9nu+LMv74/LcKlV66pDpCsLO0OKYUqQy8b0UxhxtqeH8/ajdLQ7IIY3TIj4opkQvo3GwEhPEt7gttpJ3RZjMLzk1sGkYtsIiJCHKmc0Lxh6s2oqGZLgQdUUWapNsFiO6W2LV0RumOOzBvE/D6pi+kjm0YuhXq1npDtN7HGHabp26YstiFefbUCB04SQ+/6TjSNECrrqYk/cKDxaqjPfMvItuUfzOO4OVNLweLsKKs/ZY4yB286CBMP8k7l19eFlY4FR91JwrXDlWcbYDRLoyl97K8tOQUJ31JUKFSDHz1irAxfWH0lGzqZ2BaN+5/d5jpCARobu6oBYMQ5RfkX7dtHAA+wZhKpKF0EGlr+2+ycqG+9won0WUnp/gvyWrXA3gSTXJvMIAwKYAqyQnQRy2PlHbkmzEt8aC3x0sZDozjfPFa8ejtrbHOaRtsDDcJV6hRAv5jCTqLqUwhOELgep47LU033x6BfdWZyRn0TkvRGQHreMq/lZ9nXPkJCswL20H4Jtx1U8eHJ96oriigC5ixtagu5y7RqJORNJ4Fs24//QZT/PnI777CFKjvOB84ur4qyo2fgD+65Ubjd8eXHzEwSp4CvQ+Us2PphovziIOpLJhqgBnzqJq7pnrjgRVeBCpiYFQWKpX2aKrDphukMSmQYnC0qc4g+gba3tN9pGV84hHEmOXo4Zcff8eWHbp9jGDIaErhkfhMcwfL7aqCmiQYPaLC+M72sXR85DtAWL3aJ7EPhz+mAmvAKTBJGhNetAeHktrKCf5tXAULVGuR69uQxLgCSxLg+HeM+vnIj0Oz2jt7CubebMrp0dZ6CbVf6RXAxPA+2uE146VzAsnp6V/CSecLPjvO2fHJyebanpwrpOqIdkCDWt1phPiaWj8rmLelAAiasK3TU3tvWwkn0eEkQj2JVwAml3Ph9uJuQ7209ro9L4ctmn9uQpngXQ92af8GfPtGlGlrsas9mHxYYmGsYrXevWFji83yyg69P959E8Kdthwmc+SSR6V2gFnWChfv8ns8SvNfg87NQ4VOIDvktXEfBalD4O5XLFtet0QqtJ8EXjH6G3ynvCWZFhEtqKkr+lrydcrRd2AVRDT18jEI1gVCaJR9EfQ16UCwihia/9E84mKNXIjSYdVwQf7YrsE5H4bJFsQI+sI7imNt+RlxgihNNmcgQ0kquVtyKT28H58SmIZPdRst6eegF9XyPykL4S89BA53/YePMxNqyp2kacJAkOQ3F8XTC5tSmzX1EyEM71Sy62bOZTN4BPMKbYvKojnLKsZluRxY8/6LF2QybXNiKEvc2wFhD1fEwzfRDULk4W3INgWSLRJMKWlw6Sc+g5tjgC4ooobf7muLfq/mtBIQoEmgxVSQnD3MIKylzDP0lKIyzqoNMyRLqxHjrjx6cvgdOTsYVtVI4ezwqPQdYDVTpTclE2h9ljWW/HlBecIvPFRaizgzKXSvDquW3uQQZtoDA3EpNlOJEei+xUXVheC6cuNTvu9EU1SeZX91DaYmh182trtSaNjBsK74XaFQ3JnAcOiKJSZivv6EghzwnAUPfhnsZtwdOf3D7RAL9tisyHjxN61B5TJtxkJXrwRdwyik+baRPQ0BIWi7qJDWnj98CrRx5UhUN3OhBhj5e/pch1k1qxB/sB6Sji7gRn8K7M6pNgwSB87CXxdwyS9T1IG3KZ/Z78jUCmNNnmwAVMwJi3zX61fpzvwa5YMJz43gS4cebDhc+Spq4B6qNEZSAwdUcqwLwTeniMk89I3axkZMemZ8T8t2fcHbb/8eajwSoArbglFa1NtHjPqyphGpWmuwXZaHndLrauoCJ8r8ofD+/aF1mtpCBJVYXTT8lHqM3L6ZSkKd+HdasW6u4ILyx8+M1PdeKXDELsQ74XO323wHY1zRysa2LIRjAdC6APl4WbBbU2RllC6dc3eTvptQ2xP1NcM/kxdi3boSfkLqBENOfDrAljLlROUMOgXPGSlRFHc0BjLJG1/YJ+XfNhwD1ewGadGoc5tdn1571hOnoMvxcTM25ru9X4DG1B/ug8uTQs1TNCF/iy4nra/sknDrAvY/GhBWKaT7Rs3msjVb6MVY/xFdEhDY0xopNxuU3tRTDU+kDYErZ9zv7tH0qwOUfC66bwdfqxTBrMGbBCyx2cpfwuJcCToNBeWLnf0gmj5lShUGej2izAxQ+3XEYv34y3EvCTdXZTlXLzYbUNMUozI9LPLWXKjhVV/GBgRIEKlyJuTQ8yOk8Fe+/7ucENP9QlA8Ui2cQxFvP2/mI6H1oUCUXlamIoY+3y5IyqIqX9fibkC9yuQ+uxiUjiFrkG9KxFpZ6umzV0+O0mpZDhFwY5UAWLtjaVLPn0/XUF4iWZZKjdB7dgcnmqL3hcgaKeW8kPzE/cxQAqAasKBf7D89XUrE/vUTMgFBvmVaqZQUN3UTikt6QwhR7cQgJC6kB1SkJVwHLlUSBKJhgpAoprV03gbVNMjTGkg+7GR+xr7iPmF0uElnGf1QXezDPYSsY7GVbUPvqVCd8ZhAyEwpZ+5yf72CSGZ+yGaaZWyqkebPwYm3mIs6NysVa6hiCoXMWeVeNSxCT/dMpmA5wbWt9tyBwimyQUAQg0JCVwPcaCd4PlOPSdifgQi39py/paDMMU55N98dBgs4FMu2rpeP13HHH2/NNZMeXh+SKFucHduvMG/Cy3yyxWgtgKkZKPoRf+RdwVA0HBXTPnyd2G1VHrKbDSvxpfk3rUIt79+IuzOcU75k/RUfaSvdciPwp6B1/acyBfzMZzNGSzZCoYP9dhoVj50aY11ZAnY87M5bLdLkPb4bZSKPQ8VNDS6PPyOIdIX5i2R9DltG5ZioVDLT+Zb5mTuVufuV7ZTFNghCLd2lkwIduWreXsolTvwX7w3nxKVl3b7OwWzfx8J/j5J2Maba69lW3W3KRzmLlCbP4cULtDzpOAvJIM/znuAaD/HSvqjDMY4zT920X3CAKIBVwOGkU7PKLfsdw09Xc38HZUVYUGYVpO7pIA7Qdy9ZClfW7wbMEd38QhQiGl6F/o5H3GRxEc4B0nWoe8Us5Dqx8xrfqTTMmrIlsBABW/kzDW6X2sBqqG2H4zlMHiar2KHqeXPUe2YgmaESUOdonLSlWHbg+a75xmdOwcyaPvHlA1W13Y7XPd9Z9tNqdK7nI/l+j+eeJamJRZz7U8PkiX86grAErqfxFakJKy8RO/fhU5yNHUpdDDlB2YC9IkvyhYab8qgni6JcaPuxfPB80FS8ywSM4BRR7mbaHyV/RbqTPfvxkjyQWn8JebMDAJPv9oVtu6HxrYNFzIseflJC7tMkJ7dFdGigDA61BAv2Jb3/atdNAi7MRCV0kCJRfO2+HgEPyl4EqDrhJfPpRnJ8AmotW7JdMciMhYzi0pKdwmaq+ZqhU3jfCD2WALeeifsNALLpLzJO59CL3dldFavylnz80kW/Nn+401/YYoXWaC82l+iFjtKbxwhNdmJOLK4bGi61YE7Qw/jHcw5SOfuA3p0txtjOaeYa09FFhNxJ8NVc4nkqaHjxLWOnooNktYjvwrMvYLrpiqLBI6Ogt1gnJVVqHwDtDuQZWLRdpjdeX0iFrsBtGExvRe9dUEFey13Ggp4tcCrch9VrvKxg3cvu7lWVseBkxR8k46iIvqvQS2vtAIWDcxaherLC+/lUfHq9xw7szuJP5iZE3jjli+hZRaQpfEM/WzwhLLDX2E4WnOFQx1+/50RpgspmT2oB8hTlj2QIWoZZayI/X7QB8vDENfQ6eijTzf0xz3+1F/Nmr2e3Ldxf8WOcCAhezogp7oiBE2isBGVa1BzzRv7e5/x4zxcF09O4qYZOIHNmVqu6W3bAtaohrItR8NLg8uUevTburm6qjnLY8yLRgv/cr99er6ZRL32yhp5yoBPCl77HoXM8LHY2Z3uG+6VQHxVET1M+2YkPenYTy+IEqRJOK+WXHBpi04ZMpHr9Ywiq6c7uefOH5NRcF6DdCYCmkqcx2GETkDV/YwmNXcAfilbQzyI0+t/LvYJic6kME+rMKIY5lxlmK7Ch6SlWTxHOS23hEOrgZd3Pkzt7Xxwvl7sd2ZfQ4QZ2CGKmIlyYVhRlIMEuYo6ljQnIvjnKhANjsWIZTBylRlwXQRPpnRg0+6UkUjKbJhYvefJCiw24xUDxnKsK0Q8zuE0IEe/RbHPgp5VMAGF8YezyyqXCvuSKP8SmuRZ7PWqIlXerK/hxolWBMahTx+CP730x3kQ07ZI9l9wXggo6SwBjPzrX6ul7znElTaidOyjH2zuPQu4H7o9PkEc8OZeQqmBK+wNyW8FqjV4tNLnovyslseVpjyVdOnsAn9Ts/olBk6PynTft67xd0UTC1kx+84lvV+CmDwBU5AOhbVm5oI6ciY0AOHpNjl2CyduODVJ66AfSILT/CGtTH22UK7b3A9S5Jlo3z92lvNzmUGxF/IhF3fCumwJCjugs0cvJ/wUQ8uclB75CiPJtGVU9T8i9AjOzI0hch2Yob+R2peA+cAY/a11PPBOyfhY5UpWgUv7N2xjL8v0ddrnH78jrK5pNQhGX6+CTZWrNBfO42cg5w+BagflBOZ9PvzssrNveLYpYOXjPfUULIMRHmmQ6yt9lvD4ZFFkp90x6+aLr7wAnqReJvg295qVOmMAbr9jrUTqYKJFPUxtaIKkr/yERbctIDnjCgZqDEwJk5OSrntZAJJY5eUptwmf5bg69hoObcCOvkZvMd3l8q7zg7PiG/plrIUobtoa3GoaivbXOC9jiqRtoNdicG0Rx9TdR1nT0v2sPNljmYzkiKIGigXfH32GiJthk/DNCjwVdyEGnOEdQHMlMn1ugrkJMFMphq1Bzgbh1kyhJ8ueWA46siCKz6Gg81ASAS87NfXgME98IhBhtFv+BmdRxBAgg06t5xSjup3yR00VSd2VUfkyN3M0EjopFMUkir0nqFQBvLpL6aMYhUGjteVRU9jC5m986xx39Qp+coiUGN61P99aKqDdfZbUlCeNVE+KVGGyHQsd54GbFrqVpjYeONTuUV7VvmUc/zR3e4glxTkZVFL9bAKrVkI30w6yqt2pI6dhkQxI32I2uLcQfnqYj19xOfJscIPzhIKD5LTB2KzKi0L0Bo9yL/c9b9+BDfwoaKFXLMam8fUzL4mytAiXRoJWFLGvmk7s+HxK1coS7midMfxl0nuVmXP4bJA08yEMRG3Pt7AL0LkUevBzqFGlQrRMPMz2J+VtezwhBhpKKrvnosdnJUwTCkf4mBQKom+0pC+4nqi5T1MdE6qxyssJhmzjXZ8WXMHdmCg0qo1DMM1Vfx3tqZD+Ll8uAgpw/K84NfCFxIjqYIbgnMtkGFZ3Wq8mlVAU1YgUexhUmk8lpVFtcDNNdBZuFfvEgRIQ9HzbK6uba3x7rvKdi2SJa4/ZCdzsa26nxj0Pv+x6lEWE8PvpM4bhE1gL3F9IJYD+3KQevtxu3vYMpAW1iX5w2GirIcpwYiC8D+nijLtPRltFM7HQRpWVZkYExcflx0/UxKaYEf38eEHukp7NLhnJ2Muz2MUsuqD53lk87+BWIA0XWAZMZFE/rC3DFRrqsXEN7XHaK0jgIZ6SPM4ovfY2PhrXhr3tJalvqNYjxkHdV7DlX7rpCIqJ0n7LkIGaAHYnsHdL74R6Suqc1w5dTuKVj5T/n9HXzzctV4nstfGhyZZWF32f1MWSQBqRuouccTeTqR9RTkahYjPrQesYzyfEUqFGrwalGVBTl8GyLjHuyMxY1FK0l/S0FGBXiQR6i4CU4s7t/h/0KJmHpdbyNIZRMpd4lDmbrk9EBbwB7l43Cdr2Vzq2LaOwVlfHsc5KR6PBAuL9y6KjAX7Cqh4p7Cr26Gy/QluO7Kiie+NcvPYlvRTGHddX6g1Tt1ctjyfmzQ2IMKevrkGyNg0d1M6YYdAWfFfx/DikPsa8g2dS+46B96vsIlDAmpYnBjeCv+oxCEVIYAXSZ04wuBoXqROytAsUfAGoDo4Ed1whWMOyB+pAJVP0FdYNjpSlrpXOwWeVn5pWu31A+NMFZBJtPiCNURHLQiaaQjvTChh4VOblk/kbaPUO1SCxRVonOkDXuVfPiXThUy7Nqtc8Cjd61tkrpCu0x8xPyRk9Tqr68aOaOaWDJ4G5OwTEHsKNOaGwpndWivPIXIcDuZbIDvx0oQgemk7xHwZ0MqRqqZyt5qAioV8apVltd+O0k2X7lr3xU3HPmo0Qcdk89SQ+j9HNbfcY+Lf3UabQPyHAthABIlhNXXXR5BKURcBNtAkNRw6ySfJMX6N4CZU7WBGiooP02T3+IUYueaXj4ezxhluunNJZqEMkys5HVyB1KN3S7xZwjh14jRYbVpYN75qjugkHlEANequR+DuUdN5dSqmveq9nc/Xbh7uW/hVysNtfCKQX6nISGLGJgG7elUjQhQB8u8kqg2/2fOZyqpyBytw6GId9+l2vaguMPaTPtyxsncXT4doS/QnRAcb/1BqZ8k6nKB+lmtelxPwwsiEjbOZqqNRIRSbp4h3XhOcUFvZt/HFRU1jMCsCDOe3d2tGVS49YpELZYHBqr4ExlAzuU0IU7MzVjpoHcKc8cxRbP76U/dP7wH0ONGORWaAjzXtj5OQBPKJ9kAOsnBLL+QUqK1KlyTdIQwxZhvlXGsplJIxLU0A4ke8v9o3vepV/9Hjf8eqAiZ7wEAliClyPJXaEdr7NQGSnEpleeO7fkzvBj97nVcaY3HDV5tCF88gsNikpIg1pXZc2MmoAPW8ATUU3p8JNm8ofVHsOByMPexMmsajEFXcLj1RpyvaFLtl5iOMEd/ulWDJgtH6NV8iJ6ixXsTQlFZ/KUN3mx/7mOe+MC0y16L/3wUJTDq1I6biEPL8Ldlwn0dsmsC55rukTpzhaVRcPgrKv53HehGyaVzEKPmHEeovV3pbLF+lJWIQ2VDQNNd9q4GV1VzeEB/pW/y9GeXBdahWJtG0f7JZ/nzG9PYAqpTIGaPYRnxOfJFa09O62okvJcuN+t2D5P9nQJ0kJKyW+8q0UCcpcbWX35/h95bf7MX9Dc90+ax7QFSqOvinzUQmrFDTKnP2L4rl5ofHmcl35hcnEw8jJjjscHCV5ia6/nLSQQtdO8LbeqaedbDJli3C3NNcHhp9YBVI39CO9AEvSFry+X+zO6VfDczIXg3eJ6D9v1OVFbSNHBK/rXU+GLqQ/bY2MQL78u4KOxQhIRaRqVEcPGqJgKsoBxv9yoSeKKd4YGbDYR+xRdbcu/wM4v47eVdyHb7vPmYeiYmprR6z8sYIbXl1BgYby0qrStrN8rr+LqruGrZdtsmx3gdoQdSsbww5Nt1KpCRcr5ImLt8r0bH3tcho0qH3BhqvKBljR6xR//diwvfvdlCmUxFh/t9+6FlTRd3wDC0sDRaYMNsgDjk4NNx4ZfUKYcbSs+UIMrBgZvWaRY1t11fNbo8gIvlVnAisZvJTjJR4XKAW+KeN61b0prFJrI03pjHT41ddYcII6zQRBahYKK2iZwijvXcRg8aJQojTUm6vFBBgA/LHRIZw6rNuGp8Vplm+1JmHBSJkbpwBaWLhdrcUadVCUW2T7GsQt7uV95/vDCNbeAIEFrX6KECDSbtx+riNOoAwRjwofZzqTFqrFp6DSg7TK8LWBlyI16aui3ZiM+S1vr08brZ6qSTE58UfjLWV80yh0KdH/XqAd2G8qSe5MUTko69CuglaveWy3azq2lEqRtaagtxcBxQRCAVx7uKi2pT7nvrD35xUbcS3Y3W7aHVRBuNGCoLbHhPhgryvQuKiZpOm9fzBsLlfPbCiFSJvdHEVpLAj0d8tO+4vW9EQ7ivrGMHORQJqk9ULPlkh+62009gRHl1mWhIac3OdZyrpVd2ybbHjUCZpHSeyFQlM7gNQaoFQlHRfUpNf6OTFP+TuEpyCfMg8+ZRj0LrPiz2lLzsBEMzOy02cFocw7viVOS3ruOgvfRaeu+OK9bDlqVcB97ofVxgeI5/nbhcMBxwf7zshKqRqbeVmVBSSH+IYuD5+t3aePSN1SvdQ7bZfqfPX3OWb2eNNH8MZdJEknx5uAchdv8igWTK96BlTfAU74TFd8BCDeP93MC6t3oRnl+8G1a7gep7ADR1iBNGB4Mqu6d0CE0EXY9nUBaOqZ3hwnUe5VMpvl/Y4OUPtC309Wql30cpq1QVySE3D7KCQCW6YXwJm3lTWqXLkmKeuQ7fxVUt7lq4bXsvPExqlSIrGUCaljO3G5fqTN6aZuCv3fBCjT9At+m3TmJuOa436qWZYz+b+7a9xxH4jOnMI3UNXhWwC/8Yh81WLK75KfNkFtw+YnBvhoCwcRO4wduYKmkjgtwugroIfqonj04OrqkojvBI9Kv3DRN62yOztW8m1FXz2ZqLDXG5Knrgp94eDz6f2KUD9XKt5wr83LjFIvFYAYKOsqPsNYHAYugBQ+XVtQelHsUHEltpe4MCvRGJiFeBDCv+gGGAxNN9s4PNXT7IInkVDwIZbarHvt9l+ufF8KEHV1HVn35DIMiZGkncyIagQ5QFGQSsemadayHOPm2cy4VTidFB0nBB57cO0lqdEay8vBdP5Dfoxt7f5tvNI9j9ZNH7UYphbjwCj+PAdcEHljKuRAbpA2/cBoKfSKE21zvXKWQTWEbGHH3oPdBQcC1PkwNBDC08xZgDXRjJf7pyGt0NP4zHoXisoRni3OJjTZm47JxQCGfFMDffRJHBX/OPW9ymW+qA73Ude62TV2Wnx8W1xpXNKby3itglVZBmgl78OYWh3rxEEnNdLix57LU1fGNTXGZJOomoAsvlLE0V0HCYbTv8PSHka1hS4+LjOy38JnAuVq6Eg08SYU7HWRb7XPVg7lgj7ZgZ6AEP89C07loowPn0Zvivah15tQ2x+M0D47tx8O9ag13L6gBryowtc56nweyKUbZB0w/3dvIwrJiyB35HQQgp+TkyX5q8nVBzclPMYC7djlBhFzErxunNa/W3ydRPAWeT3YnBe+DavUwcZrrEAfdH4d+7XadSE6Ccd15I1o6+5jhNhu+3vP1KZ44GPCjUrIAjziAluC3D1VkQHwIw0rYA4EkCoq9Y1oFvaxNFPbSC3L4Ns523Ys05Y/iXeoOuw8uWJV5faPeSi4cCzMPnsifS6Sitw8yksbNa/csM83q81PGBX8vRgbqgwN/2qrceIEmWqroouC/z780mKpkx4sJ7z4MRChANejSVAO3U1CnnVBrwo0pw8w9cXwbi28JAx0UoSWIlIyqJqcQz+lrLjmglpyRld//2QtgebzhI+newaoPm2bgKfeOkEvH+Cd+CHtpyJu1slFpAQQMGeQtbc4quprEtga0luuAF80AZbxP9EsyfQgA6HivxNdgMu8aysNIq5Rq2xa8wrLBSGGiex2XXnMPjfWGjEQkU48SpLzq9lpkkajkdSUvtvaQI4fU+ld7kgfjEJ32XRYi4DKUzkF98qv5bioAfkbqjJmgrRfuKQ0hyKeiMSpdtLyJhJ6jjUmKNHufnqgIR9IuRELDRlMAlsl3YWvW8JzHGphgbx6Bns3BVt1kFbnCeTA8SwxSjX/wSOGM1ScXHw2fT3bH1ZvBXn+zbas6S1QMYIj0yJ85FaU/RkKoVwVZzgi5ELhxypKVUnMD8uClBSMYpSQ4UrIRfHb6nxxWSTHej2C8WR6H0qReSPHWGefr65MysEljfJerEntJGaJL+b4+sGYIDPr2v+5D8narNtksOlIUn4AmfZhs/SaaNKJ9XjEFNN61XzWcQ+QeiiZDVTVnWDGJdxZps7SkmDV8iOdqa9X+QA1Vp8x6xv3CWe7djmFo3zwSNp7hoL5JY3nm5KWq8JIFW0rjtjl4LDGCOvXNpLVn32XoNJ+9atjtmWXJgjI85swooP0y1/NFSNjfCx1zsnG0M98i2HOyznAx1RT6dhewrnUABGyrQGkSFchzuFYgsuTfxdgV5WTGPlAtIbORTpIxaxFvHYrIM1BY98zSQpVCLDzL9YMUTCB56F+tumb7OnFOytGiGMOK8ESYxjwfSuv7BCQlpaZqJOolGppcyiayQq1RvM648n83dHBcLKH30QB1H/D6C2k78xe1FbJNMXWp+GMjyJ2WE/NHpl6Yst7OUsLW1ePRQ8VEiN2QiwLfNEKAuRA2PHkzt7DxvErJl01WDGLCT343qvkyldJDS34IK6vh1MCAnz0lqVKnvpF+y/3hokDRwI0811hHLJheT54bits8tfqWCPkT2RXhNkW9EZ3f0PkqF8+xbH6UpGZgSLgTIgG6Sd5OwygZnvLkx6BHAcDUdu+ICvLC7rQDr+FG8toQjxcu7Qa9JpB1toD+7KBqqLMXBG+FHtkwRUFZVmxLY1MfIpVWA4xS+CBZsiikYy4TAcfGobmaWTsFxelnciZtYlvrVwT9ijSugWWbwz1RcNKM2B04HbAcLLrUlcfuV1Rnz5DtpW/aWhLSsbH5Exolnxa+mMJI+EeqoNjhpIijF86joMOU98x2VO99A3yX4seUqJNZK7JJ4wjbic5DgPhvQ4edAB4xlAPuI1wgpZgz4pH/Jm8c4bUzE3hMoZVTyOAAU4ATvS7qIANu5FY5X9Lk48AeWD4KdKjZ4Ate7/Azlh0Uy6tE88Y03Qi5O28ywhsy8gkJ4DWVtbZLHo4DMWLNi+dHiyTndp69cXVzq1hVI3tu7HpJCN244fdW/17LCTNYYrLMQusK1aCfF6praJORDmSXDO0E27GM37c2xQ7eMT1hC9h4utb6fXoDNYqU6/sHtJRjwdFyEM5JYlmzdlW5XUVdpqQtC+2C/k+NvLTLyvsYHhP7oR78xlrj4XmoDtey3Ybo7KwlF5o7yLPhO5sSmFB0VnfxYLH3gdIn3ubth5QrW/+Y2A+9BOLUSdkGQcToFSql4raB9eS8mKl96mALEMhJME6rw/s0Rtv22T0ViN6JSdke2Rouey2neSSlk97AVcIClU5rCJKVQFPUomqKXztnuruKJbBztZpYWfOB6cQMQafDmR78/OBP1anUdqHhBF1bO7H4hGAiNXdoOzBM5joszpdgJskX/AF9F8GWg6ssJ2upyjbm4YNvAayWXr9K/HFymV4AaaZsT7QQWWRFcMDxdhJglp3LaKBWgZRihf/1ahnOHcNcb2RfaJSOI7RZvMCuyF8FlGxkfO0KG0N0quie4R/0rK9yL7lgLWZGKUbt071HjUkvPAOh6GFiTypoMBAyFO/WpC+e9zf1cetR0irwmsT2De1DVMfLeriVOy8at1pYStOial1Y3HpM0THAMjv8mfHZ1zhOnyHc4zTGnVcLXrnIuyyYEthFpUiC7/HzINP9iMlm4ZNr5v/tGXyuQLU5C7sESku4qXvGsZbHZ6VMmEEzuTFlDsnayS94UKHmw0sMX7+6orVmm6XOQphIzj/h0wHxpBQ/oWeksv9n2BFRq94Y2g8WNyjCpmK+ck6LEB2Odee5WpuubX2c2taGBmHezA1f9Uos5ZVHFTaklWyLKXFyN3PeGprh14Fnx+a4odtArKoSIyTapA+oue6LsH0dO5vJ9FqO8OqQRnMPX1Z9j1wkjP0cK43Ss8Ki6Y1HEMM89gTZWI5luPdiZh9Vu27fK9WEBxFIotdouEJjPzChpShBIexz32lSE89COXpU3uO1NnPcXAETLOZnmpthjjoiHQv3PfQoTI0JgtWg1TDcm4hhR7bL4qwEv1RnDr2hbS3pGQlFT44E71xpQdju3acrXOWduoX16VAzhxr4MqAOtobBLLbhW7fHnFdaBdlp++ccz6ib/S/5OPb6eRFdZuv5LveiGUYzyuBXEfhG/p25HZvvulnkt4qKLSftvIRuuba4C50joTpQf7X1AbF1YPRwmOJr4amppUlH+z1tjz2UEi0QAA/2jz6JLiixRF2XmrBH8lHWv2Avcy+S4fBCyq5S2hmHLYIiytIJi79HkFlnBOdsAeG1JLkfTkp6lgVIrVuHHWHUwsNUWYhvLQAxXG4s17Y/9YU92Zyg4s3BaTgJW0BmZutlrybboo6OVfyuLGMkJ92z5lzl3WbjZ6ILa10Ov//4yjNGnC/NIcP84Fgolo7UxYfvvHDjiCnvJy3wukfopVpgsA4Qeh+CsHUB+krHbRo2cPejFvhBC5kzghKG8B5VI3Cw/R5u+KNMXiuCRAKsB7/JGgwWKxe3OFLWdmV8Bb+J5BY9dfEn+fFJroJkwfL44XQXJ8zVFd33PQbSM4gPMKBQ8+JiEvKEGSUfTMIUEbSx4Y4Fug3CwZFXJBMI1Juv/tqCYxQy5KkcOyNG3EmNsOMoRqmYOa/IYOjhIo7odajAVWCKexOMYTDZd01ImHL3Sm/3011OhxhfjR4YAU07j1ut5fWUWgj/le9wVB9MUrlUMwiDgJRvg/9xC4Yy4vXipJnPrG93KhE+OlmXYvMS2A5Dv3yJt+rwd+MrpWz1Um+RdArk5uBmc5ORACQ5BsKx0XMmTM/D51xf8lvhIZRhcgAwoBy/TTFYw61fZ5AAaBuP6ZTGqd2Z4zfRN8qfEs3f1ZnaqhKxcMSK9vHHJBYbfp+bz1V2Vl1o7RlAnZrA0Yc3wRNLSv469XvKQdaxl6RDMjavLvxsl6YTWWBcYyu+/HAM+DnHLmFGqvzJ+1NgQQV7WrIpBCOWuxlGm5xzQMy4L9FVIC+cbhIgoluOMAmhnWE2TpVcU6DyoI1hYcxPP0+ALITOJ3HTSaUEp0j6LL8o9vbPlN7UegB4KuBiuhWJ03W2TMlbtvw9BaXusxdo/un37g9T7+6CMJTd+xICzZGijiHIuqWUk/FwdJ7G72hjOuqkIisk6ZGBlLEAV5bdl1AdK2po4ITpc4Q9zGcyytRyxGboxSO5t7UdPZ7tRkZTSZAO4O/iQlKzY9jnOg1BHmVXKNlky4pD5OutQhm42Cx7Rtas0LqQNq+4cDrLptcrnYe+djPalzdpmTjOPsO8OxtwDzrWPdfuw/UIzrP4kPO2gHkJzwOclAWhHTApaEs5G0JFbrjVya9XEFKmWh6hhiw5vbcngZAIzzxVSI8pHu9zxOb2uZsdHaqGfn/LXwTKkTkmLOSdBBq9XmHZi7cQxT1YvVG8Fsc7kPipV18bwZE+/TSSBWMCUWaAu/gu2z/NCoBcv3SLQ4HdX675q64fXZie/eZtiAI+Lwr4qboHkCkcrmx/gXxNQjb3LGKxt5Jy4YEWox4KQj+zOtf1kGaHTZAN/ocjow3ns6tKJOPnt7afLHf5HC/uUtjsIWBFQBfKI36coAZfkGwyqTOgEZL8y2ISSN2ZYnOQEW+mKLwTc/Np8QbLAKg6H+gl2O3DOfWcjR+2EhKaeDxL6fueaI5XdmJRcavv9V5XPLtOV9O0cYX56pqJGVQSwChMULW2ffOU2OdhmEWpGuMax/FM7gHKpOqeTAeLdWS4mIUYasZ4jM1Jr6XGEpBLBdC3SXwybj25QrZfokT+Vpm4Oe72GQ4YWMmsEmp4ddmh7XdDmmRVZ0jvFhqstkq22F8+Sgt7IaiY/2UnVdnwcbmGNcm1EbZlTshsZD2EuKY5fCiEvGYgMZFVn+5mCozFiGtl/W212dnTTAa9lSsaHH0/C4B4OCcGBgn8fnJMZ+powB4SIjZGWa48Le/sH3Tw97Dv4CvT/Fin8G4jAEn3F+uksGecXcAb50U5+1sD2OS/evzAT24ycPD97rWvH5k4oi3PS1pQAOXQzoshPVl3K/lznbqup0A30Uqa0KrptH8zZcfiRHT7gNTAVK1dOowJN3bGyHF/Ct5rRB5Fu3tEzXihxJnEy2Xwelt/XwdXrVhjXge6qfGJJQOYC74N1O5p61TyHdboQ3EjmQ6zJHkn5UG44JS1DMdNkqGnI2aYw5F8klTDv4VJVUHnKB8tGitANstprrN08bj4E9WEoxRjrhd15qg8rpqiS829Ba4p/64FC3S/tlRoHBOUcVPvh5VaX2CDQcZ/GGDW8+QBnqDpNqhzvQ6wdhpMZL7bImmO5n1yG1y4gYs1s1NgFk+0REfmSP/UIl5nB0CFnMYB4gtb1eW61wzcAN7ZATWRZc0wNWuil49vaed+X+HfVsg8wouWjuE/JYYmuRMed2h77QFZ3Hk3L6Dd1oAcqRa7ADw9huZnF5NcnVN2Y8GeckfEQXi0wsxO8d6lLvvcjPE6vxWxzuE1Y8G0aLP5J2bC+FX35gKOGxzJIgO1VOr7B3eK/A4jx2xMsTc+4XJrRPym23phw91QEltcajfwdelY6oikwydxP0r9rwyxW7ADTdn6DC+6qkpayQJpaDXSjhQoCcw4ibqwmRHu2oUAjXAzRljNpDzklZkzchfMIdqfOfl7rSmXpnlapQAhkkjW0ajWsQMvlUeyXNtd5aJTxPZhlk2Zw1L/YgK17CeYexOofFvvUJFzwWe0zUdahmq5Hc6CpHG3NpjhYONrMMwhRGtj50snzAGlxMMEugAJNh5bV0/z4knf/08Nu7zaNKRRaCdepleadLjQIb3jThc7Zc01PPBSxEkbko6ewgKFvNWSmtBqaPA1Wvbo/ozzFFHWzfKuoau5WprizL1wdzr73LsratPoFNtmcM7wO9GWi2ou1MzMtxR0UmdMwL4if1rq3FmYbOVIk/bFJV8XGcmMs/dCbnQ68ywshpHVQyXAIXmRPJp4XNHRXuhtTb5MmETfuoxbYJEBzjOi0m9KFSv23JCzj+BFnviOalclfd3VzYw1V/sX/SFeESvXvDjTa0a3EUEgwVJjlD87g+Rykj1C3lgkEwbmLg6ghRfkE+nUict61OiJEENUox9xm6JYFgfCCOPABgjAvaEWA+v5Zt5ejLu+5zbOhvOUoYnVbP98QXuaYuKfglms/lWhWyAGnfVjbZK7rB8PpkmrJarJd/pnbyw0ZW43pAh9hXYP3KH6kHWnfLc3rrGhTtn0jgLYrOSaqHDF87+YnHPMnB/+vngK5tt+LNCIebFSNNTd/B70ypxJIu/PtFI/yitQUafIAs6sy6Ew1mtGzM45Lora9/T6PRts/P1nig4rXE6zBvMRFNopZmwDy+/bw4vS3Sx/EJa3GPvsKZg4Nt+VsUZuBAzERtXMck30ZvmFm33ZmYzmhZkmUIi7Gr6eTOFpwfgT3umk4OlxHSHO9VidTupbQdlNRWebM2FjFFTqfbzBHXhMc348J6XytBLkDIaJev1WxR6AvZ0GJ5uFZJogTojhN2pJ4KodAHtY2Ma9V40YulimKAT/kdP80pHRoNmA9IDmbhpgSIRHGwLNDY/Ri9YSLraLyjJIxMaVJgnzR9EPG9tYBzc97l6wG+ERQYhx5pR7roVr6zvsDgDCotm87yXagNIcrSv1qMIjdgHfuHz3CZVgtxuuFtjqeeMSKzW7ji0EkLq3yn2mLKmvJapo6GHETjCxoSLYLMX7aiUQ16eLWRmgjkAgiS3GTiYqwJbWEr9Pmj7FyOGjWw3XJvsXTp11UpJqarJWvhYXXMhvAtEk9WqXoVyWwtpMMhun00f/P49TYoOw5ck8Ur9SHlABqD08bYD7gtfVhhM8iIdUuFl7wRvMhPFgoDYvT+DRovxUaNoT3prP4L7MWbfye3bx3HTMJbv46HCRMauAV5Ex22/aOZQ+CpWrcNTV6eneI+f+g0JD9yzfzqLDVHX6dPEbbTr1B6FzBFOp4plWyQpaVGFGLBWpT9k3VuNIAyTNa/nP5gnv2bf8gMBQXFZYyfQ+DhRnCBpfa8zTddY+mD4+UfOKFHXiT1WL7xF6f3NxDbEmRTlM5Bjq5N+zTtube+Di98aD2iyljTKKVfbiFAs87KNbjD09N/biNafRebnvB5rUNEwv+VJmKKByDqq5NAUFOkipNlRm2kiooq9aMgjuceAla8YggDocieVUnUvuUuSeZV33DjhDFUSfq10HkL9RmM5T35kVzez0UN8+qsFcdnq0rPlf0a0OcIhCiVFzo4K8I/Gg1WgeKprW00pRrrL5G6UXiClJGl8IzLVxx/7OczXtrB34B55d7egojrgDrypgpKkcZbqJlGqD9QnsBxw6hZrIn23YjpR37RE0bMta6f4d7yseXlSUX8r9+nqfJRd3YRyr6huHSg9OJtqY4b0DV82zkJyx+kkGI6+rgjhfB1wu29Lp1LpbFoQo9/ReVuZzZxzmrQRFXckc/nuyIzVxC1YNFrt8BRVDdjMkL0U7tuGcOoq8HUfVQrE5uPgtGREq3Owmt7CcqD6zICMazkV2vhvaCUWAND6Z+YmGURvI7o3h1w8l/nAEdqEdptPx/65/hcJHn/RQ7daNnf8JVyUGUECOyR3RFUHaOMyq/7PZ3XOHU4bGYtDg2DII9ox84yOQRVfBdrcbDynpNHlnNYOk1V+VZN0+GVaX9RZDe5Ts5bdJnQ79rqguYTMfEpYSUAigoctlnIapXojXVlNwX6GUmZDPKdQkdlFIeLANBtWcOQYgckwv7q2QjnDlshwyq4txYaHBoX4zw39U2MqLoQbAqHn2jf1wZkir2hIhEHk/9L89OjJAjAUHv/vSAMXmSPhgRxH6X+7sn/XNJm8HJ9XA591XFogPSR4ylHZiD/RIIZilmiQcQpJxY9YaLFRzsFIyPZLcQp8CRp5QG/s7z1g27BVY7Nqit2OUT4UtV4YbaXCmGD64/QPEvRH7z+IEAV3QWWlo3JbFUZng0njKgY/U3dsKk+//QN4tFra8oFjDnRzdduFB/sxfg6zyriWfJylASvysgDPW8fYmwHng7cxE4HA11uqUcRhTXUOEqRt2lPUZspTpJYVUDkNkG6o5L962nVrMbJpHkCCEz+r/CZUItnkOvI6ojjeyArfEdGKBVe86mvvj2BxSKv1ANYWoF7r1bXMWBBBMrVlYpY65MgNnxT6H3R44g0484E1rjlP3HwywJs+6oZdNHyhMBXKCUHRp+IGmv3zbwckl+NZx4A3MKMoTjlA18ehcymE88LWrb17rrmLtQ6Bx7d+wPwxmOPPlauH6R3KS6mExgM1XrGHCmhjdwjJkSuzmi/UJqwJWW6/IzacsLLnv1pntJ6gurbdtyPB9GsiT2IBpgj16u2kK2BYTPb51G+rnsNpgX4pp6nq7LlvkxcDFQs2byW9TayLOtbpDEUvXriziB6/Mxy5KHQ6hPpvQUKEiv9jlvBvK4XnpjVNuT2VVRHFvdwqKCA8XLdVPP9k5c9KAjaZKcBll6sP54JE9/SOm4tugqtZ82czfdRqYTdjyI2HwIh2wtu+0sqSzgRvjXD+8w809CMIqV1YtPEFeDYhYm5b2mNQNKnW34t21VzvAbot2/4KFdiDRvpVIeFbzBkI+pmOJkhXs27ZC45ENBI0Og+dfHiapNc0aB9M4fYUG+SBe5yMMb3mIEzzA4LlHu2UYVdHj6bdsRKK5A3jR0YV/GAWacok4Q1ovpnvYobLrW6o5xP6VtNBXKXZAW9/ruGWQ5fbgENQUTkkOTLJQgvPwRuGjjQf5DUXV0L4Pk6pYctzaF5c36tfVGhVLep6VWx4JJ1XfQD+Bf0EO8qi4dkv0nmn9ZOm623UVRmJRuMFBX0g7BpYircr1GG5qt/Sf68+4fDO0+TelkMzKEilVPw3UfYZLTB/bK7ZTBXsfBdKhP2HbhX9K27fdXdSp4Y/qvv6Nsn50halRdMDod3T7GVevYVUK7xS4GUbvDRUERBXNTFiMSDYbz2rt+g5b03PDvQhxJFVGL7kYbQUeK0h5WQZs7lh7iYzr/8S0PB/ZGGWtjq7Bl5jF21DfGwBsMyZP742nuYH2AW5xAHbIxJ6Aj2J5BJaLvhHclqIwW8AqNdY7LkHubp+PaPuHAqTC1m8CkIXoZCzEAlD+3RJZNqxKLPq1W7LD7vMoEsdtBUEsBPh24GwV7Y93l28W87idAjZJGGYJDPUkUiBT0Racunc5C8ufMlN6rJfBztJiFmF19SnJ8Q5kQiiZaMj9eayOh6aYj0hWgHNTZz3LYW31yzssK7++Ya9tvLhhXmCEf3+rwkOsaQueP1WM4reWhgDGSERH0ZtR3Jzfb71XNdTUqnWP4judIc2C7i7v60yPna0SMY8mYAe7sq9lWeL9fH5jAnUpFJ+zf6T8OOLnHh3QWdS/4LB1kBBVv7qIkSLttMHgXFkEay0WnZ8weZSZVjVRZ8gzqL9MttpplSwD9yMkrxhviBSQV59XWP6TXso6HaNQYKNW63xrjVS8HTlzrZtX/KJYAaj50uZpj0QyTaqZaii1yBc1FZYYzY7XnPWUfSmPiRf28YFqIyvJ2Sul1x6nvGOX2/dQZL53dOurfHIwcaTIhNrZIMx/fN4Z9TWVxB2uMJbOUGssG+LY4+0HFXF3AZIIwV9Nk6QLyUySkvm1Xq8wYrC/XugxLmyH7/82YztX4FshwvHx2mqT6VE23BC5oW94oysL3m6QV3wXpgF1RQY2XI1B+7tXUUQxaudhtIeoVdXo4eGt9mRNp7XTi5KtKv9wJcWaxwImorD+NY9Kk8Pph4dJ3b3zfeIOc3VhxW61HUzsZqMJWmu9QI7D36ofQz2W3jX3/67LnzgwShDXWxK2w5e/rS6xN9v1wiw38vSPAWi6r/wYr4V5Oo5A+IDBqFGKZmHtAHj1rZp0OHVbP6jdfOjse6bTx9cSsrEihIRluAv+rtcJ16Yegg57S7jV0ST55mbYS/rJ4UbP5FfMI39HcZZk6sg3za3cMmfejgPGfJbAHSZlIn0EupmrzcsiOqggHwmqF3PyuSj2TBKip5IifAyAsl0fFXKsJAVM5ynn3D09NqDNGmNV3o6GhpfZJScqCceVLbX8c77GwBSUJVNTyWAhK3g1D3ZLu2cf3XHA/77TmfqFHnCFtk8ymVUjmSXpbUa3ZIv5GOtiZBGUTIcVDkYIUIPrEifvvmoluAn+N7I5vWMLLuGO2gadWFQu1AMFYvYDMvbSp3bWqAjW1kPuHG+a9L3sm1NU/YC7D19HFHZJ0pMlOuoMLsNvPElsn2xnOV2O4lzKHWBTd16W2io4Jw0TARVy6JS6HngrVEW06brbBMY18/nZZ/eA/pmDAleeLg7YllifdetXBT/fnipYL1ZM1IeXui3pd9mhv6F0wPwJrTR9IgOPO9KR5IXwVL37xOly9E+dXDrF6I57Q0e2nlzdnOfFjNu0g1GxYGqI641rYDQX/dmAE09gS2ESPD7hRgQTkU0YLi2eS/X5eynQGofAv+7JYOJeipb00vI++72O1s3HKSkceGph892KYnzy14q/EczaduCtHIsBqpqkqfNCs2hgMtPd/tp6WYKsIoYlvHVpcwuBzX43ncomaDY0XSood2NMEoWre10E2UlCgAM4BVCwJgdRvddOBILKoyLTJPO6RAz3vM43KeAwn8dudaXFkvYQ6CVS6B5EhvBn6lHHxXEiT9R6bkVMhTfv7gLrjD0kM405geJdPO9vjrsnQay9HZW5Fps563DpFQkJ4BIL5RzhwpeVNE7eyr8xX1K/Q0SwnA49Ew4jT5/XGysHYJAK+AKYZLY1dW5NPz8AAK1sP5XdJlxihCQAqkXghg9pZN0T0r+kZAFkxuZQzq0NgQQIMwQlmX2e31LPRc3U0zNi8d4aL2JbSJz7ED2crxRbTNRIUKtku/2INzNRPpAkhlkZO5NNolLTv+x5LldrrfQcNnmoQzkvVHVBx+KH0sXqvhbvDcSeObIAaUoWk7JhP2mbdmIZb+HLiP/pz47cDVi6L522IToe051/rJlhaqRfsUC7Cz8cRrLkzZyy2nV0LGZII4nds+sBOpcEX8ViMHS2XLQ3X/7KbpGFNdwpr8zqOwCT2A6RxjTW6eK2Sx2sd1/qjt86DzFGFPT0qHgGWSXhgT9m5VqUMv/UF0+ZhkYdrxse4lqNRYKIOzO2fGGteHQSdrAd0SG5iHe/lXKm1CGKyo6NrOwBZBnvKbJXnC7s8C/WDWWsD+J9jVCKO5/Ao/6nIg2s6gfOR6dAKZtybL5jScbjIm0LdSGDIpzgV8gAI00zXRvkovDOXunTbncTDn3D8tSFHPd/EQakkrLT9kq8KNfOVZmOmEl0hh4ipyN8EsyqZuPHViS1mQkxVbsXLOI2hY64H85oup66JmfOFmPWB3g73BLdVuvsrm5N2GwymSmnMlHrb2614kUGX20h64gc5ZQlqc7ErMOOqJflHOOlvnxqSxVkxjz6+X/DV+Kt9SGF8lTeJsrvJls8fQ1i5dfPMUZ1thfBimib2SixYPvVims8WIwZ32y3HGg+tcIih7SBiOi9jsVGR4JDy0fBJO158bCnTbsRk2nkwHUxcF3V0mEjClxmKlWv/a1tnMD2VWvbVeOJRgkp2Fga6LVbDmm4oIBk4I4Dm5Xm8h0jsQec5VJq46gQsYxxiCGC2g52Ou1Kx+KgRukQDCk2oIwdiVDA5gejhnK5C1gZj3aKUiwbcWYSarWYL5+o7IVSTY41c4q2SJFtGLE2VrxQq1cGqnzIiJCiDFEVnXs1I45HPUZajLdG7iHVc+gU3MZg2+Aly2i87sYSjZMs5rj8vc2YnVSUtiDRrh1tWWhUkL0I0EfbeagT5R00lCvIZ9LPkZ8l0X+3IYNA3KjiaRhwWaVjcoe57mCAyXuO5TpPOi5kJCyAiIelAoYoUsTv74sf4/17Ei60f7tBZzObceqsGs1wJze5ZIiOI2FiiPr2VgxNMMJijNDwS9GBcWxwtxJ38qbdFhtPdQOFvbeYFV4H+2SlLREpiQovc9qidhPlmlPZIqTTtWb1jw9Ssgql+Is4jxPokBs8X+G+QnIOan+3t+nBs1Gf8nsZXQkLYhlnlYzTu8RXf/hCKwszN5CF/E1JIgbsMfoa4eiscGhsBjD8/vBBMnCsFfagdb+bGb/eK22OJaU6pRFOWpXlPVvVNsD4v/t2lnpuLpghdGS97w47ghNWkZGRoyw5hVF3DFK9/LG0pkQNoMJSOxrzfIIk28VLkom5qEju1NbaFLp4CGHWmON2TOhflXwOGk7nCtmIb+iPnWCeptM70M5VF72O1Y9MqMWKzHqfQGw2+kXekSAM+nsvLQAy0g8QaZGeBiU0PqP2BvuKzySK3DcXmApYfyVldoFvN9ra9Wi5LePHytMzjvakXmef1WOcu57mvD/J+px3na0FuOKyLzd0PvGuIocxtcPzSQpqKXvbmazOIdMhoD1KiA4tH9ND/7VstkWj678o6ZsOl6/SQYIq5J7YQRLTtJu/hBlJrMf/dUaMOZ2QWENn0O9hmwODkb1dqQvm9RBXiJOSRwm3s/ToijYneGxiJIeX1K7Is5UeDS1XKEpG10n937ZVDzfJhUtpA9e20MDon7S0duMiNVH+dOHGI4ezITLuC+W/0ogF8/dsWf1l9841iXcesWCHeEDHI3icm52jV4oUQ7oxGq+CTAAtVYocduwT3/rhnb2uraWH18oJF0nSx2D5UrZFr0PkXNzeiyrhxlFTbJjMVOFSgcX/cxZmgpapLHdj4WgRWmeZuuZ4CV+kZ3/7VXp6TUFFAEuGWPUxfzv6w0OZPjp9XSmwRhSmGQjn83MKWYjc79gvJQ+N8D9OWdrLedtzrjt+tZtjJmrLe3irvT7ultyp2Ta7WimBJbNf/3LyJgMW59udJRkr4kiRcvRDSrvEuHh9nmtDAtEFw3FOCiTYA3JsPznY0UTLx0Mix3YFN+fuuN9eew2yXvn6UQPV0sSzVJ3xvB5wSpMEmUjYGjUbGWFmy9g0fhYlHrlNbvf2xXKTZshk4nKe/ZbjSKQnQPMpkzwpdxYr0R8jcBEmTcdVFeiyBZ0Z2JK1Nhs4VULflWeVIaRUhWeqTUhdP9ksCp28FKUehH/q4JhkLnQbp3d3604nX3ol9ohvgyuRLfRecLTAJpbjfEZP/Kmnuxp65Sh0UPpNMyKAv0YA68LgVxN3pxraLXz/RubkjozstN4rqCDQXIgo8MowRQKoi9J4AvCaZKLIa7qCuqwpjEZ44MKkZDQkW1kDWMTvl/l058mSRQOY1W7yburBU71QqfAf4UQ+om/zaySgbzV27f0igg3wtmTTKyUyFZL2i8Hqibt+ymKF7fcqGxS4qH5222fnvarc5anCKxFf/oc9emxAFe7IzDEY9C4KKxUn4FlOKstIzyZoAlmWUI66814Q/Y92rd+l8FXFxbXzHZvKaU61mMZz2JP3k7NioN0yvRWeNqniHd1yUnscvBZaH2Vp0WhM2OGvo2yVQCu6biaWM6WzgNlJYjkYrgwWn4uSafQfGi/LzktzbBgQU6fiW4imiSMWoQc6Mt91Ejs8aiEZhQOFiaY0csY7TAvrT+3pfZ+HgR3GcloVkwJhC/S05oVXhDoDVK3ASnwDfKy5k7Cv4DdvFTxmvHFWTsLdYBQ8n+S3lm3U1+SHDrnR/+mJdH5m40MGIsA4P4JmZDAHXS/Z3INLDBlFunA0gNP+ChfViSOvSPZicVtFvHxNRvg0S538PaVqfYR6zKpoOfe1tz2gWJDXuea8IST0IGaIUoSMdqaQ1GwVL/574JJb56VEewMj5ZH0q63VVq4ZBo3dACZ4lckAk+ojCU0UsyQKpncm8tKMPkeXwDne4JDkVv5UbaVHeHvwIAFQ9I+kflcc8aIvfyBP5eqx7KCVPuDPJeX5uHHu+v/sye3dy6FR5O5l5ldzqeBuSDaAwLII7GnCSxe6BSSJCI6RI6U0ddRpC+6yvtiwvtwd+1psk+mC8jiZueOGMrIM6PW8uFSzolLyJD4uNsYTOKq51oubNrOxGhTjrbSacJsSlg3OIJkNjWlbcOfJlH6M8/q4XmKfgezUtbp67GKnsynhoWfXgeCzXdP0e0BKKiHhh906kNgI6LgswWhZliVhz6wwso6M/jHJShgPsVOuc9UhEy8G3SYLgIjlk772T0FM/MNuNaVp0Nwn4tB5EQo4YMQ5Ikx0H4ee7MpETCpsl1YrFrSElV0/deHyHqDMsgVXrLNsAIp7Qqj5vOpWkObGTi3viSD6S/bDG4YNEaW3IP9zZxLfWenKDalHMBefUdY6QRLqsQUjJXuh4hFUiw0JTJsg2MWhyjoeLf+eJYSqFTARR+f9dFyS2RX9PwBqq14+tawLwYCIEEyyX7Jm08xRDxHFAmVxMY/5BhiBbZcbFlJP8GXXuWfHlCLnvfjXdKKn1Oey3mUdFgqvbDYnqBkLCygwqD09zT+m60B/iRH77dejmzWsF5l2j/i1ZtVbb2jANA4y333DWGxhYBMZF6WyroL4E5uxZM8PWcSjQ0oudr+g2VsDx8P+u2HH29mY0VWV551QdJM9BPSttlaMqbM98wID9gdwMjUXWSoSJ40/tDzwAmYQO6X+NLjXcW5JObZTKmIatBceDF5KDe2CmVnXiWltBu1kMjeb7f1RV/LKLG1HVgWayY6Famu1mGPRMHd87aXI5HThDipDYuwesCgg4BONLK8b+XtbWFQzbWA3yfESb8yVNZDOn2FwTsh2omWe/9br5i6qBJAZSi7vPPqRM1jK5S2aN0sebP7LoIZsy2X1MJJ0dMyIxJjvlzcWxXfuKHGXYMTkW4gWjxcq+clsPxaiBmjUhlkrzB4LnmLQMfLYCdxdOh6zsx2DyGr3OnYUh8jzyxJlwxibuwJvX12DF3EYn+jbMoGB1xgdI20X1dBcHaLJBaUwFT0QSCItoXbRxpmYkE/cTp0sZQV8KxKzgVtN6AE8G5CPmjVsOYnSND31JTFcdAuGD4vOJ/nCdQRBBesfLKtR/ZFCcDHLkw6qAhYqlFnmGHLzc1RtNJ+pFroA8EuYgh0Sa6fsU7h9EL1aTXtXmcwTCPyMiEbuCpSJN6H7vWH620kG8GG/Am3G75JwbpeMie2X/dWrv2izmcWBNxdNSAtQXcMah9KptJFEUU68wICoj044YDZLaluorIbWcLaxkl0zD8LWRcKfKfmZN3JMieUaTM2sE0day8PI9kXQpXrxSIiOUz4ePPJ4XFB+/uiFkK8et0lxS1Gk8SfJPRNp+fXhaz+ktCuQh2K07yHRRqcIOqHiOKh0sr9ZMNOCd+01Q9dZ1mAaqUnBcv4lyPXjsvMcHh4wQSWKpsx6f8lAgGBnVL6L0X8F1VYfbsvdd9Yvl1+Ja+LLQ/mmSQxGH2l0dGDleeL9As8lEAZTVAD5/NqKyAokbbwyB+FyELH/hTmKxxrRkn1jtyvcUUp4tMBFdJsjpBKOrpvkJa4q8UBXOAVIVA7tiVpwyu8avpPKtxB1PbRm+OLgTOcqa2X/hWSpEz6c2m/LicnZQtWnA8AuKnG0661LFU+NwmIlUYlDvXJlNmUN9J7eWZI33uPAuh/TH3KiTSUgrJmegDDh+j3SsUimvnGTZnmJNQ+noWHyE0+91yMHbm120a1VWnIo9WtjscxHrXX1m8zitl5qrlnQ5VNKsZmeYmsPjeKObnZJ2mWWrxNda/R3WR2VlRLmyz+zrFmumGKIjJJ7cfqvvlORvEZF9rwqQRUcmtUYOhdfNsUgZPb/oWZGCySJgpCHSrtUYO/J6SAuvbd9NkB6rc0bSPurmXJg+z3a30fG8RIHFo4FCn6rkPAyX7KZXAPQzBZwQHOCditXFH5LeaEkPHeuc2eyIcxGObLsx5292k4cgIIuinHza9mhDcpkhBt2B7fM7aDb9jXioQ/Zi2T2DpUuOtqG/ffoUOT/WWyNkz5/Vq+jjJJr3n+bvhkKC1QSffZO8/jHXCp78W07twj4Ckp/0kkrMRlyAmRtsX1FpzuqWvgs64eHeGGCyaNQ95Vb9hH5Wk6X5dsZAEQ1xFr74AjpNHzZatx7Uymo2o6wZFx4mKprxjyauaknJ0DgV9IhHx+YT6p515DOAEVNnVKTv1CHAKN8EFPOyQwtOQ11tsOdVQcRDLqWphDH/yh87Ad9o/xY6wgUEekqOuMhSSoThxKzn8Y4QCdq+HhyMQe26Kjh/fJmLr2FFZiRn1wFnUShsI7yOYBecIl2Vf9icVGZUmU0/clExiEpN+iLJjE0gInR+NhbdwelB8/mlKdeY0OYAZ75+LxTCu1dwA2crn5x4YddAgK4jaV0fJ6HZrhIKCfR+qmhQ2hTeLoZISIMrEUf3jyhIlGKzJCXxufqDW6exgSnm2ifneVNaeDYlVuCr02oIyvSRk17Vq3iqQl7T1KOaOAqGF5MU2DApc9G+54DHGdeEM6qtnYCnN6cPmzlPoe9nr4KFLaHwWVaPpZpF96rWUnWzBb4y+wdWlH4wV/pzZWFw1p6+uhvgm/i1Pu4lSNiAhm13+ESQ0fpJ9Pp7I8mBydv+qOTMA+oIFosKfEjlr7xDFD8nylWqHE6YvetrbSzSjcWQljDPpxXgPNo+cooU//9KnyJs1r+bdgFVYNuah8RAPAZ+cK8+IAMfUIJBc/luGDm5nvaejbpKMvBJci6CX+4CfL7H4+aLU5E6FoQSZ2a8jF8xocBP8BGWMDi00n2nM8gd1A6NtG/eljFVdE3gP7fQajQ2pa8oFq7zl118NgZIMwDRG16x80khz6oAY/J52xYKFyDpD02dYR8BvU0kRUChD3sRjJcZuLMN6AbhGoCkyCN5KSpZuW09zsYvNuDE2KtIj2z54P74xwYGrKdnn77U/G1n4HbwKNEVD59H4Blgv7AYousjgpzW81hEGrYC8kHL2Qt9bm2T94Og3TKSWewHt6nBMqPpZ9Ksh0lPzR4P4tgh6FemTffiTRbafH8AZku2R9NmbAtP9pgDNVTZ2ZzFWjeed7wHWIQJfmFOe7EeVpF4XNJISjNULLC+9yJMt1ZnIe6Q5mpLNBgdy5L1o5q45bPUWNhPjpOKCLOQqMFI7rgG4JggMP4XoMM+AHTc8fxrY3DlbtUFuF6XLkR+lCmvJAe7B9+0xNhQebZ2kasxMrzvw+uwBG2cTIU4oyqoo+l1ZRMiFfMeQYLW3UsG7RGwAQ9CLWcK7K+xiaNBbW0X3w2CCibZamfIwj7NVPSu6N+xCsPhFp67F+jvf8+3B2RTCFwVxvUO93buGWJ2HoCmH3K7G20eQrY3rUtlyKFsZYu4Jy4DVOvn4Vuo+kMIZQzfjUrNJuGqDpyu0zaX/WGiWTbdVssvDf+eRYKP4bGGKOXXhQZEMiNx9mjRprAwcqSfSi56pe4CqBqsYoMl0LH+/2HuQ6KfCZa49/91rpuHueplEp4O98/Xg/smCrBKyEyJ9D56qpgM8OZ6AExEZVd/t1LCl4dMMQp80B7eqZedmNKrkZuEXwjZsz95HcApAmGmeTce6Hi+gIBLDSTXUoobnW0fnLRydCaro141IB8XXrtHLsTOWmdjQN4nH7TWdiZJeTtHWZcXVc8QInkInKpYRo9N5v72Rb6YSTy87IJW/oZIy0nWH48IBBlKrWwReaQbT8McBZ6KVR3swrJ8+An24yjhVx+LBKM4PgKmcvQKpPXgntQ788jPVHFoDBnAdviS7LAKYWoqqzF0vf+fWYtSJJ6Nq8G9M+EdtJO/5aZsxBJMWWQf3T92TYO9h2WI6/leYSx/iwp2e8pdsEZhQNWk9RNt07u0CyjXWbIFkUiKlNaYRvCzwSqWbQjdFbQMSNgkoYdrf7uVNp6O/UF90J07C+o/Je9eeLAN3PTOwe/hngwEOavjyG6CedMMEqIGmk2oiKAP4c95cBYR5nEv9/FGNqSK3aJ+YRfuOOTulFtntYF/Wwd+TlYoZ0Q3De/TLstEamR2jGqqkslV9oiGrZQPw1LNOpkxiuCrkTNJybtrtg4q14a7uEH/B01F300jtis/in9kAVuRYdypXqySiRdJgq0wSxp6LNpxPrI3iiV6LWYp8Dn8trukAjsABAt9qQph4sUbqnoNyEwpKq2oK8cMrylr6M0EA3HjWRprJpHAZmRWF2SVy9RMiNIgjwzUdntNYzr32cMHpsg5yKaxsLal6IfnCaH7+wRXztYkhFXhCtgaO4ehaQeEjFOwsMBud6zevvvUPyB6nuA2GCEP4eL9AHZ2M9OjyNg4oZMf9ji9FG0KQUXWgAdhIlaS6E9TuZJOP4VHgBTbrPugbhKSpd93SyOU4V35gJtfccRNQ3rmRc5CHkYRdYUgotiWqmWcF08TU/QzNkRQ5iOnrn6BcK/1EMafclq2DbF5r8UWnZ3yeVosh22GHzZPHqlRDORoPsDs7KdKwUBRh8PpjAaNUEcF0wI1dxRVFnNHEhwPEAdz8is+mS8sO4hu/6hhvtTJHDiw87krZmAeb2XLVgdBtOvzM1HlmepzNqdDn3R9UQMTpX/h4MsvLmLsjwHeAGriWybxPv/Peh9Mjic8kWHJuCLM4om44NkaEVAhSZ3n0IUvdp3Stu9WtkGpbLYeMTKw5+OCrmnOyVWeROokpFK6GTU7wROoIEH4x0oyNDK9jz9n5UZRLWz5+uGOo46vwITI8HiIpGGJMIiwUNDezDN171op3u3C1SYhIJIqpDbjsmnf3LhbXryVZ+Tmd4rxWqeUZp9b0d3TOaCWLBXyGf43DU8DXbPwQR+WuV/Td2kyep7O6tYJ2QJZThgCVyUHOlHZ0LuJD0qJ6PQ9vRTq4pfrQecuWz9WNFld6AQkaaJMb2xX0umfq3NQw4PnT9cR05Jrxv2xPKhqa2HqSRKwDr7b4dLDfsA+wChnO5roIAVGZBX4eXcrqODznTVCeG54zXa/i2L1m/s9/JVLOIf+qkGmUdmLtyNTxZ90xBQxt4oqhpIaYy+wxq5qZABFdxCKLmHhnuk8qN1Mg/AS2S5m4ac7JanNLOPraBgGeHzhhATdPlRma8YWYfcjbdIYlDyOyWCpyPPPBCnarTV0zL8nnpvVctXFs221khqv0dJen/vz/9TZeLRMEtqDmyrvojMZat8dVOA7209+TviRBwAp/ZqPxI0W5tlnam9Y54nteD5/YJUKTSDSyniw7h92zXHVBMKiNSMwRZRQxxgzY48qSQGIEEWzrr0RQZi6Q5dFbX0qGNSFpxjWupU1PbgkAfQcDIlsloZZmDjJP5NVt6Djipu/DGBwTxV55iBX5Y33u9f5D7D2+9cVUfooui52AQ8GJSPtLahVcT5bEjCECCrj9qzUsFJteO9K5D7VAoKSaj2xTq76PXtjyGCoEyz3c0PP90JowLEHM6yMhYo6rHhn7cU1CBsivj+FLjgNsOrdkkC8m4puSwv/2XhjbWcdAAjIP5RusqwcxzxsASvCl+Ip4anJaxfyZj/M0WkU/QfiLFA40arQ2kBmLCblZBFge/jEvQ8KLDzRctriNLKxGINN+2tUdC5hazt4zrKbqWF13onyKYuAipgLOXFZww6Zbten1CgmKHaHDWF0x2o6rfVn44atfYYpvQ8icnujOVBKgQvPHk5PZVdPhLTVKdh9yu9kxM6OYBIKWh5NeB9eMEiW44LGvwzdWyRj7oEFKLK3F7uvGSFkICziXFC8aArEPVkEbWbJ25AW3gXkS4zreps9m0iy/SskKXXZoK4BEz0ek85bK0pEu7wP9/nOyOoOUrXzV9uCuW13m351YpTOAIHVTAd1eaOdE3falyoL9cncSJ2zabx4MKbwMO4D+dGhLkg+5T/MhpYct1MpqdIlntQflFbuZq/7MV37Id5Ls0n7vMXJHj14ub9I0I54gOwoM1hLT2mVQB6Hi9Vid/ECR1zat9P0tGXfY/MpejGMtgTXJUJkk4UNOTtXLEh1dbOm8JszWIFnLYyTV5duBeUwwaqi8odEwqINlSnTH1S0Bn0CDbXG/FpUUVCOHrMBXIMt0V/4BKr+cIFtviHnUP0ITKhl+LNkzyn/KJEVGMzaz/X83klzS4X4gc7TxypWU2zJEq0dc4XUhPSZNCWPX4PR0QoGYs30xs7g8h/0G5CDkLgUsjvDkTwsZjguW5zCuFY9w2qXRJ5LvkH7HtzH63ldCqHKer9LShdMl3EM54Yu9edScqIcjn5R0V2+OKeWUoS9lCgdiyXWfFahuRvMXkOC39H3LY54e1sy8M50CBrlkY4V6LSzAsPdf+xtD2xt/LZZUoe35d1pJXydyyhzgzqIZV8mEHVlqjbBUWXD2KimK2KJcMiS+CAW01bJakP5dPgMs8BePJxCmuJK+SDiTbbt4DA4XoKl6eLnDZgArshpzRrK16wu9gL0GbE89YPZxy3XpiS/XaSNWYt0ADGmwcXWC0aQfm2jqVAI37I8cg8kvsKk0L1hMQGWy3+LpIittwNKSCxde/e84TjhwjQNYWW/PiLeUsnG87hsDMUIkkF1Bpqr8gb5K6SPEsVXGCevCxjnxN0w9gaPDKbugzQE7UpbEZu/jKObBAgajk+8EZ1V8oZFXJoe8IJJmwASZEwlMJ+rGW9493hRBe5T3lY0SXKPwNxfVBWCy8pv1usirNLC6yOLRVY7NQGa4onnKniO5cq3FL2zVxjEf48JrBQbTKoV+VBbir4bb5cP4Dc+dzXBSvYYfOc+ePpFl3POYy5kRPgUf5v/xZ/4o2dJu5goIIRHfOPvh5N/87GvFpJemlQuSxov/bh99idLHxdehZb/IwzAnA5FW9VC5VDH1T6IK60Ju+8w+ivMAe3LkOI+Sm8YOmnROK8j4Q4RTjVV63LKCc6sfu9bWRc39KO0pm5VNusp1t/hzOdcVy0nlMzmBHclAmmk+hRkkwD/tkcmbE7mUSOyjSm7Cf+LigVC3G0bsRTH0H+83NrJ/D4FCp+TaQ+moVpjb84hbXWGg3WHSNiFLdCWBqxt/g/UiFjLUpIUa6Qqd//gRcAU/OKm3qSGmWWGRgTgQYbcQEm8tp+cabQ+KR6pHkFJATvFXKEbuXNS/GThHkB5D7RSyNDYp44Zbv3ThBNhAhd6BmiM2r51gWJ+4dkXEi+tUMDQTJddMjMEhniRrI6U5UEJvLnAroAD4F1sz4I8kyh1LEFg9rxNTTlED4t7EmQg6FlR1t52T3oBvyMwwqit8tlPR4XocJRFeLYld2jKQ/4HupAszPRokssjAShsxBkDaQh1VuMsPz2Bks8vNP27sG1oeO45huNehY+RoXojEFxS994Dwn6TJ3sf/Jmotws3VEEe7Lo0CXRY1uiEt6h/+a1wjZ/+nFK3+93pveaGuQBtuKcJYXS2Ej+qIg24i9wXItVDlX3Yc9TLuzJbulj1afYiTzQa+27/tqotcdhBW3Ct/jGPwaMtsvFwnO30Z5XdxBF5eOvVr+ZKMoGHyXPW7VZoV9VXx5rwVa6nV8C0flq9hLAroZCVkoqLZXTg+CBjjG7U2folL3F6hSuFE4Sz/tv20J0U6+yZDS1qqALzGgLsmk6/gYt+CeeEk/hqBZX2bGYKhT4eUYQmIAg3WmmjTTBfXkeX3WzlX4dZEaIvjLCIfr6kGpQuUgFJeatOpE/SJC7rl19nr061J8leIPs/dEBAT6nhzOZE/NT+hebg1agw6akmNvqyrbXaZ3aFTph2BYg8MkuB88r1BJqLMcb8msJfpfNgfJzZJTqMm1upWMs7+5MsnCDZvnj2URiIb+bCxCvtHo4cpwXurh6u8POv2bracw8jxT/fdykCJZ0B55dnCMSnZCKXMSPOd8eXrXaiI11lvRbWrmKPjbzYedGGF6OXYTWZWFKgrAtQPb+20jD+Lt/aYdp0YGFNc077HOYQyqRf+6rBStDQNFSTbnoAkdgECb3FREVojw6daTOIkF4cj3bVwUyqWidsUCkHQUFHfhRoKpC27Apapdou0T7xcjXoKFHCcxrae9kOB/M1HUL0pZ72UfVUeLArBoEWImVwo98c4EnrY+QVU+FGN7TgTNd4MS51fLFKi4+nlubnZ1s2cv+JUmkz5xqZ5MQryupZ3SjT+S7+xdDMVVMXESj4UWpaTLxYJSPaimwApGCnPPlmvfBFz/wCOfWbeC+5dldtgfva026hPzHq+bbtVZvLNxUxzRCHv6N64fcqVTYZbb96y3YfBRZ4iLE5jwSuWGDrGM5RSu1QdeT6Y87cRIcrSSUVadj2NoIDMifc/4d/7MdiPSDQomWfXiZiho1dvBZUhqMZgup3vZyopXqPiviQlDGB7AQPPLB0/AV5G8wh/B7LDZ9l6wRerH1wtGI/DA71SO2EX4475nAlEUPsXRbnVzyQRHg04wngrsu0tLMxpR8tSN16pdRC7aIh5B3Bf0Gvoj8xzo+I17AQCuzYVxkuinWUZ8wFNpOI3IT7mrHlol15Gvv67pAcWkZ4QngQQYDylQJuzB7sUUX84lJic/62hhIykh+TCjaQ0sCLvqQ7FBmufcrVl7wNxJTHKkXAN1Ag3SfdPIWVxuhCo0tJH51Rho7BCH6PZXpMFWmhQcbqlD8N/HGu0EHttxzYrEH8Ao6DvIJNIlCsOBI3Sl+h0Bsc3Jo501zxbAkEjuyvQjOozODlKkUZv+s4M1l73VyvCck59ImUGY6qfvZAPfNhl/IqV8Xjq8JO+jBwvypArfZmdKd6XbyyFtVi4h1QbGb19k3eCJ3Jt/YE/Z5yVsFYkgZcHhA30RJcmzR/ojnYE+w0yEDkp4ixEM0n43dkjiAoL3fUgGFcQmhR4L5i+d2bfODitUOnTJ59xUlAi1frVI3SbmlC41SxkftvFl/FeFJ+42HddS0LpdTiS9ZTCSPNyEgaZ98HIC3rkEO+VS2+Ik6DugU+SQqK/OxUkMB2bToLpUWL7aiKHCSztEyCujNCIv9YfWSbg0qhq2kLNroIwpPudukOvg8L82tjPudof8K4lI+ypIwoFCfz/vvSFZoF/PVZOqc/2AFYbRHOXUqakr35gKri31UE7hIMiTeSnS0AVkkbVpf9uZkzM0XBWOiZGV3TkGBwYYh1fgyOslcyBRSstbMwAKX9C2yc5UKvodc/dQrgscIVIwW9qMmBIGHxCJCsfxxK5d/0GCcyJikKcdnRY2RoRC/ekxphmqhfIOcAWpQCFax8DErK8t5d0BhMJ7Tzfad8kpmAe50kGSjXK1QSujcs6wCmVM1YdLYNkPnHB05ELrJQRNiRFF2T403RvQ+E24p8ao2hvvXT3DI/E6nn/Xy0OC1Ik8jkzosHlTVadfJ7itzOfk/x0RAvwgNjioRwglQekcIu9W+nuDOCigozuJp9ssZsT9Dn2D3xF4hGAT5fKtWryfpxRzD/y2oXk4rzXavGBO5gP1yHl9YaHNq5RTkMTL1dhU/mpAbK99VZWD/gH/WZ8R/vvfroQpzAqr7pRrdzQSBMQDKgJHl/yCfVE02R65yeI3o+Zl6KlZSbQjxdkqvuiG1gpT4eZ6Zacwlwj+WTf7N3ZQmi6cqRZ3RRYcic5gKOaD0qit/D4NnPnbS6w635sXr6YpvcKVO4tMl1dE5xAhwxjlugijdBsN1pu34KqMhVZ0SjctOMk9nDNY2B6gy4wmkjpb8XbR7l93gNkdijFGAX0f8UastIPwRoNNitdNnAVmqolUsQ9nq1oBrW79H1Iinp31YUOcdzj89/beC11cqO26HNn18c+5vxx5T0rOttlJs4aHPxXonKkVzxJFuBAL0fDixsNMDKxyt6faVbW6ynQ51R4RFI9kDtimuseUuGCFcjg8fGfYrnMZwOEqDeToQetcCY8Xbj99Fk/IHrclH8StFb8lJ8z/PMuisDLfmLndAHScgeylcj3MhPLbVoqkCsZ6F5EtQ9f7SDeOrX+pJs/LBFOQSyXOsQ7RR2cSCR0x2caiLRkb/BM6fPhugs/elXo9UAWkhKrcyTkjdIRIfGn3/+lM/JxSuW3EsUMftlNx3m1t8yM/mt9TXG51Gl4hCVLpwrWAU9Nlh/wMPPA30TWoaTM50ahSdJuGig+QRG/PL83I5wmKlUnHk+4jrJB8cWK2eWoZNusS553jPC2pJ4cBSc9fdTzQ9KcYr4s3NSJ7DbNKMgapv7ZJfgKzC+HCByGpYNIwvpI9iv8w1+zSWfr0RY/KtqcRfA4Lty1XUTN0algOXm/DiMWfAVNGtYhH69QWkhs7KABgNHVGA3g667UD0E8m0t0IZDgEwnZU7UnbwlJJgtFTm6R+1+UJsdeWCICMWyWqvZfpNBcACiSmvmhxbKFN4rNc2yoZIfM4TWuBIHOB7/BcVZbzwTVak5K0J0djYla4Jr+jrlF2eGm5txVlUtwp2iOweRq1OtB/2dJj/8W/K9FVvQEIdJNKHJtcQCbOgVHi9v81H3Lc3+dJtd98CjabWDUFvKk+Rrw66MRaoqHXBhCphbm1dCsN9tfcZap604JtORQDjo7yCy0HLbJh5qRnPDj0AqC85IROqyC8QVRm0r5Xm1dnctzNWO9aojFvNCsb+tdmKhil36tttTuOJoyyFzq7g2HbGFje8juCN0DTaEy9om3S4F0slEfVmxmzC/KkUm4OUL5fktPiopx4NA62gKA/Jc2Q52SBdH1dj6X1owF52BOM48caX7trQGapt1CCD1H3xnOqNuDkXS0Zr2PSpWjtkEJL05usT4cDIZaZg9LXhptDtZJnpqITV3LWILOJvNHJzmKzknCdSzRxi1Moa8ikgB4ZfseEeRRieCM7JYeVS/+NPmrtqBUOKDdjqqI7Sq/IZLaanQv6iYvFwp+niH2eHltpJYK2obsh+OHAy9IXMZBeUeLFBFDdE5Oyqn4+IE7lUshrLnf4PbdDW4yM7ioxjuL7ctupGsi/HGLrrAobLsRRcCZG5uWRtVJfH0iSo8RAvt1rGKx+xuCXGDHyaZJ9zp92YHCv98S/VF2dYAlqZEUa6IwBRhPtfigzg1IEsp9FFeBo1zaLT1kiOV8ZxuTSHggkLqoQxROzJFwqwsoV6zPPSzHj2oqDWq2PCwhrz804LxA4s/m0kFK9J836j70gpWFz76dbV6805gRq8wfGxDBcRD56Q2CtBh5Jla5ZcbZEm1khVc67PkjgKvPZJseGroJxFfFE5jzIOceCCVjAIF3gxZvxqkndnxr/+UKMmFv82LGv+nDkzZocWEK9VljFHrhh3rgfmke5U9qp4R+Ur39rOZzHWfl255lOuAXi7rdHk9JZ9f5/QKKDl4+Bn1IvdPX42kGl5Tl4Fl2M1QovCTy796ZkHEaHkhq3Kd6xERpKWrVz9afmthyCYuqHlAZZbSWzj3tGPlHqj8fdycjGQJdZPbtpvl0aqZfhXy8VDvC6iRJyPZ1x2Rinx0WGHddnZWO74BX8BaPWIN9TkbIdgR+Xx4DqEWhVTNgZFRFFxyN0d1Txz4plSwxbpGR8+bg+P9bef5mL/AsuC+qpaLnh/FtEzNxNCEjyASS9yp/g/ULB/6BD3SntIr30IGUOJAc5iu4wcxDnsPem0yilLOrhJ58b0TK/+cRIAO76ZADZCXO3ZCPWArs/rGO3yD7dsz+XL2c29S9iHUl0Pi1tKONWpvgBaTPhkUpPd0ZO6D6AlE80xOT44RlGNbnFHTcq2Vs0Y/G4cuiMQNLtHlNUWqXUxZ8cO2ZF+uUBqbZg3DGd1N34d+6yoUYJ9vYoJ7GqsEkISpjgtBfxuOygJys2whoFAOXamc4SeadM96+81nfq6/z4+gFjBtUb0bzQo8fiECwU670QiKod2pQEbAbjp2e+ir7SJ7Rbq0jfCL8fFN42uJuBcFSl8XAJE6et9F8AOIUgtbB/zLRJeAY0/QaOpDYqXSMI+1hAVW9CMk0QtzQzq5GcIjkZ5aX0bieiCZldYLV2AB31ehK5lSS25JXss9zRIYSNJJJ/Go2GeAAJwcZUNXqzVO8nPuklQpefx9wk3gcYMTkSyF3xpIS7L/mpkt0MOypEZwi1J9BmkQgG9iEikAsmjpHOFPMF4qGbhexHGdV1ViwJidmP6lx2yqZZCNQ/dTA26DFCN3tdkpQguFbN37Yo46sVAfQfvyzaGeVTWKM2+tgbwn7jUxfTCtkYGti8SxODPnAiKaMhykBouEe5IO+k4x1sG0xAT0WkgjS0a/KIovDIfqPd6tsQftsSaxivvv9nSuNX+Zl1repV8SrHNg0e35IZeSRTyBVfTamV/2KUzHDwD9E96jN+2b1eBSFSetbmTJJNSoPmrUfa/FplRT3nat++vHTPDV2+zdQ2MKkWpN+28/7BNMKK+bdKmpLcmWkFJbWn/LUL4pwgbqcRVaCqLpKb64RY+V0+EsUebqK7NQ3SFmpCg2R1SY42B/93imAR6JubrUmEwhb5JsBC5n7IYKq6UesNA5FbOIaH2YeUPQo8kxR8MrGxl9osXW9w8cGvRnSWGMJGXrp1lmgn2wRqRh9L9RwNAmDCQWxsiUlC4DXtmhZDDlJ3X2Z0HH8CKxoOnCxI9bWp0v5l5GYuaq5WDLj9Hw4GddJo1fGG507kXaeyb132tMzwDOKFYNdNuBnIgutLo692QxsgqDXh3v1ATLTjGwRJDNQ2OIAxMmDXbf98ps0ec1R/o+VI++hSqe0u3FOPB41561/xzb2bZoaC8kLEK319uOBemdQnTK7Qi/jcdwaKjjsmLJWOIVNSBtpswMMwRvGsjFdnYe12WlBKaYjIxQnjDR7MlVUjUxOBEAN7NlAO+JXOnF8R80oZbZoVE889lG3qy+p358GP3k+XE7yuw9IlNlhw5gaUMw8ckyk4ZO7gg9HcgReiESBmGzVESeOLcBbC2KGqwzkMkTywfGRP4EoiCo+0IhYYmkaqv9OFM9gHz7LPsNaJkZLr7tCsk3L3Rgl5+sG6a9O5ghuCNR6IT2uu44s1jJ1AyJPdHkTh4NjltKpWmOvf5S/xu9nXYTaeVZL0nXPkEmKLy6MbUPNpWfy20dUQy5/rh2aWgaXNEvaNP5Jf13w1OXC92qUandnVRzr78d0F31EJ0PnR4mnwS1KnNvoevgAFs+ubc838Glr+1X2p+n7C//BUsBUdChbgkChCJNNQGjb09I2BXv1aclfNruysVgCZRMk09wjn9RLl1tXaVdAjJrqaog0bOvJuWSXoutwoD78XYq2lUmAy4xnqYfGndpkXzmQtla7VY6GlPyIcL6RrW7+stWG6Z+rD0+RHa3UogAZGaA5Uo0vLLJBJHFOzzrFbfnxCijH253cJ2d4OQPVVHZ6/lw5MpMRmJmLX0rmLm8/RjGWMLskrxu4sXeiLK9MnybhyYeLYl4ANaBQoY+sfWWcHZ4lCUNV1d8jdsmZS6dnZdwA5aT4aeitnpI6QjZIgstRL7Gac0okBCPxRd27UVaMDyjBNnPUrIo+fAvwQnm1Uq+kggHRuO9WlBskaHDp//j3iLXGTKQglFvkAD5VgMhuDOyA3L2sV0L1YO3Bpl3aVr8t3L9iCO04l+rbSRb6gpM+wE2tSksWK64LJb51V6HTO//zqwR0MfoBxYKuOEx+e8ZtpgeEpewOqVusufetDHGUgMfVSnBakfLGmSagP2Y8AL4QHWavS4iZSIcra+xI6T30fVL3NkYW3ilQAHrot7Nr6gil3xf8mj8iHYMvdkoB4BmEJLyYbk6uiEzV7xp/H6W1dHvMLrkc391kM4otUwjnVOT3jOs8AROWEHq9zu5ytT76BoKIfn7jSuPjIRDu/40aijIE7xAnUJ4b+rJisHGPTpRoCT1UZxvA4y7qLuS0pDH91avnG15smC9yy7qlZaf7ed7cvcyrw2gEw1bA+EP4xCYj/z55NV799HSJd31dzgn3vX5c3TfkOan3pVgndNAKAZpWkSmUSIaxz8e4B3UwpifUuOCryTmdklnlluEX/J5bkcPTPjhtTimBHDd4gRxHyS4rUxM6mRHM1WDtmXofpX2W2g8buip+ieuepT7nrJ9fSTxu+3wrRVE4zRpgz1P2Clk5n5Biw14E5D1/3ssWi3EtQa7djSDFfNMyyftoLolRKE1DAQDn4NGqAYFMA++FuC4QhjqLBVOdFmKZnG62e8PY5HNg3ixrF+ux1z2po4tW8/BukHlGTQrdUyh2T4jxu2ANP8CNxqHGA9fNUH7TMsmprMWXf7yW9rgpAQ3pKJp8AiV/WdKHirw2qL85jvcV1bZyAzZa5/pzjrgjLeDQDpSwDVhPLVXmMQTW5GRpR4Feqyj3rYN38kYJznqhAwowD99nC8AKlD36PV+ex7nh2q6qA1uFLz9/StzKjLiNcJRf8b0B27jRgDwF5ROj+2ueKyAlS+v2bvV8CyU8YVCnksb36Ckg3j35DgPvTcm0XCU5AbioHntf45NIu6xkeMbO5uqru4zozhIuS89nY7JTdX8y7skY3ReSbTkuV7uBq09qzEVJiH3158tnR8t1mthFuVE1+WMJJGsId6VgG2bOgtKMB64z7E5CfXDEXS2NDFrQ+3PCL6izxht2liTPapJKSmrdc5L1wNcGLn8nNyUwlm13I36nzfx0X+5yfoSMhjvxEOpsb0ZWTdk85sskE6fNLuNRuUnsDipRflOX84ttSgyRn0ENbovjhQos30fZuw6PNd224V7Hr/5/T2lmZzR41CK2inqZGPF3OvBT/Fz92lTAmxKEwth55udB9svSFJqIplqLK8xcLzKXpX8pCySQ2yiqsI+ZegRj4Q73oF0pF4XWvMsiV7eEGpujwlXRWOX3DXPaXPq22svA9whpYRbXV4Vfpkwm42MWMNKny/E273/SjhnHuPWFlTzRCpsuZ0LLDuazUT8hEaXEc/CaY2tA7M7gsoOvnrPmfOe/QNLFalwNQx5R183fWbgXHj1kAhTmdgbkFQo5F8S8jYE4gWNBqo+ZujuyKVJjEbYBM2brj87CqLRribxv9PM3iiQarVyqXfoIhK7y9KQ4xDcnGroy3+KGszOi4DT6YydH2UPlKLon2T+srBeE98MCvp1I3IxG5qAMzChdtx2wR6UjRbqlRA8snrRyvkyTJj9subf7rp7EN5Cze5QFwcKTbz/+UZV6FGJGfPXJaiPcSz5ynLRscyhCdUYJqq90e3QWwwSTIcjbMvE9ojEyABKFfPMBGaENUX5RVD1aryp2Q7RV1G5H3bX0fyvG0LGeINusXkHZl/6uDmM1ZpGxLSglLHFC2yEf3ndlVOTLDvXVbpvPOpdUk1JssGKhmUEyi+AkSJTnkwbPM53lx9H7sERFfUPXigTyckyYYK8MhnxE3c9feOGM5pj6dO1hV72/A/gtgNRzHV4ECXcTkQYAkV7zUQa8B/a44BZW8hxny83fABqvFxoQKnojvTUO1SUkoNJyGDmb9xOX6/TF6iBGwOHHQJ9ZWplLaZQEgK4RAQBqVveCUA9R4DXsDdLMoYo0q5TVUFJHmuaMVepGfUM6uFb5QK2x7ph80fVedDiWjGH9MT43tXqlybyupOQzvla1U50wJnjV/TPTDwa9XcrIOV9v5iY7+wFMTrNIQNZgROTyLLayPaodnRuV5sG8jv9zsjyDTd7DqGTQFRnpQCvPjQBRknafziT6zFnIInf2xvh8jmdL8YNrcDR0+QxCsZAzoxcOKhctDgC4a1Yk4+6z/v5IX7Z6I2umZKyzb70dybGhtQRm1LjJH+IQNS5RC6ZswsadFc/W+BckklRgPygh8cg3NWySAhvp54pkhm/sAVjtINYhRuBGL6vN7SV2bMdcYASKGb4f8F7gyM89ezWajW5QdUujBf+rCtgrlp6dTHavsOq8jlHzPhUklzxkT10V/a3i7h7Svjl6QafkphGTV99sNZuqGeSg431+q8KzFmVtuO3QaYNhabu8VwGW4ZgWynm645z9AIc4Giv9tuHNrNU+eT4uPHHP+zyxe66E1hUG3KdEqCqhPbbUIbZBwjQ7OlS9vJntCiS8oS1NSJqZYTusFgW4PO2rvtoX3GDG4lned1yfPhk3GV0lvKNk3zkwvIb3zodb8i8zikwfY+Yafv+uvDRlkYNrlv/P/KLBVsXT7sKRzDVHgoGwU5+qQr2qQlKi/Tczn9eDOVPom0eIG2LQylvaGGyd4n+/dLCPUNcPv/RDxIFlekCYy355k4Zo7GGAOTfiVfBCe8CHTMcJAoULgAxRq+E6RNcoCBg2Mn9qwonkko4/cw8S/9idgjOxbl3gVHXBlWkUWhLfTeCJ4rBFXt4AFp+BVOKhvXUDl1c4MRcScWJIzOxijzSDRzammYrl5RBlFKOqiXLlKHlCm2wEl0zg6zD4Zasr9dylO+fonJQ9ye76hhI3iTWzeohAGrigYMvNxC1o2jwn+JEWdgSSEnP/PKSBM5bWWhqJELES6eSuo3/1zitq0TrlnZbgs3hPS66uOv8VBhANicBpD9SySUiU6wLcS2nfy06/5ZeoXdw6MTXD0WtJlGNVAFviEDFTEIeCniHD+RMMlaftlHWJ0Nh55y3iinNFNy8healaXtthliUpWdyfaOqfNLdyHeoWyjXy580MA20HGPpNG38TmAyYE0I0NBKdHOF/Ep2/VFI67M43UsqPXInX/6XIQAYrNfl6Nx/lAj++tZC+fgUXBoeJBIsyEr3F0J89obilsGnYPdYuxferGiK7LYjcqHT3HcyN98KFMtebXWBDMb3Rw+xsdGuLHb9IzWwnybQ08dUKp4Ld/3Iat6aC0sqyKoAc+BdfLwlaVmpLABN6h2VN6XTCx640llrN2odQW9jY0t64g1XxTfoQz4sYD4m9mUSiqmU+cJ3QXxAp8reNWkK0yvdWKaV6JvFBlq+tTs3V1UeW96d8oGT+4pwLGTbImp/1cxkz0XQ3t0TiD0Qyly9okehxN3iu0E+iGpiiQ7tYp63NBrPfzY2DlXjSAfw/DwEQ8T0pKBTxI6oSEZdV2pu+JP8D4Zg4jsW+7A/4i3zWuJfQvFPKGp+2KzkQCuC1t/DjYV5kGK2yc46XLfd864Jl68luFaWKBhtTJxaj+KzUpOxjhg7Qydtk5CJ+UgxZFatLILJkBe9xiXbxA8o8sGoI96od4twRUzjlT1hnjuxwNXyaPUEvx6mDvCPJRxFKC97VWW/zovwMM0ZrqIVeICvqJk9UsW9N3uwpVE88a/o6zdYvDmDBShmuj6mVzrYwx2RpwPIBXwvfL9b+IB0VDSVsJjQl42vlFNcdN580OBnwEyV34sHml4S1Ze965Y1RUfJvuCmtDBfT6GECMlfcMKWErA70Wg3zgtGoeDYIQkeX1aEwFT7FmtEbN5/qoEahLWpxTGdJB0gobeEmkva7KobLRI+DsFMoA85LTzvibY1UEhQf/DBDu6PHeSIFINLsOTYfpzpDxeEa/ckKMqJdJPOSJWZJvdBX+sXoPmZ9f1qLkMTYeJZzSWahKr/BcYNv4/Bd6LR874ivL8cq3dgwHVfZxjmG8xHe1tZraYXDvOMNFea+yDtbDhGuc6PcKyQqfrP0d3UQtCDp8Js5tcEPgl1JkfLvuI7iRdqfVt2fCacjECxtld6AsFRZSU28mBfoje7G3bK9PYq696045oIdyxpw0FPxsqn7DAUg1pGX7OvPk1MzpoXDmpI/1p2HD+NfIUqFqkOI0B3NxPm0MG3XND3xbDk5ZJ5ALoYqCKeqsI2RdeT2HQ9sQuCgSgzWKpMZBAB4rPiRDkjIfxpeuOzXCq1ELlqGvpBJ8PkzgpxOX9Jxy12frhiItvgt+6TjwZ+9vhF2ew6pMJMbcgW0lSYFpiUQ6231lB9hNveSYbafvu9AERK9noC3j3QP6rwn510hUDz+ZeZiWP00rZMmBn6cRkVj6Qi+pcIZXp2/hh6NMbJY+EXoZ901yyqia6K2gDye8bHCcsFe4SHQ0JHYoG41qm5OzVhYf/DVyoEkW4AEXR+GF9zdH26EECC0SUW904/ZNNhwJeGqpTz4w/cOyJWM2XL+0e8CNelnP/1wYbwlUniZaEDvUSe0pAN58iv6KpSvP8zFTPQn5dWziNDlDFw8aXW4a1gcTv03vv/cgpLnivDNbfvjOnGDZnYVGDgmlu1UGJxs2Jmx/kxidtVTHLLrYdpx/sqRacRaUPaY1nEBjiOGdXJGQgFIPAVOV1qpl7u5Gn2aD4/aTwYqXVN/oIC438Q3GqDh3p/TwXfRK6/EsBabfczqmIqYEwX51IOToVpoARuAT9rcoVIqoHeo1n5uwWvWx7lLmzNxu3cfXQIsAEcVeMy6P8dEq31qK/drZAgQkYjg9TKN89qXhSd/qNQShlRo6Oe69TB8ljKJRHMOB4YeAWlLni6i0VHT1veqy660UfMJt68Ef/6RGAawbsNRLpSpmMJMBt8NdEnSUwFucVva1M4+cwuPLlV32fLY6oRv5Bt+PbuCbAfL6+elpIgEESmU8G/8+AAMxc0TWeuYBRuFXf7ZpoWPHt92PngRJkjHrGyNWr9j091gTs8kHcfS7KhhnCccHDdi0hTGW06OvjZCNGDaD4q2PAW09pLAL0ndMPhRLpU6Xw2wy0T0UxSiEzIYYGAvcakcjX/PzpmEZeV0P9cdew4JSNrKyR/i3XbRASbpRheNZgFZaD/nc7OY8S5PfsiSrziMJ9YbXVaXtqdut5aRz5BkMLzEgsijv8NAqX5KR6aE+six6oz6x+C7BX75wzBgN23fMFKgy9TMYlSWDjLIFDiLkFkKmriDEfXjsGPzP6FQB/HxKqDnDXiBmFWrs8yUUFRqs5ByPYa51mdAXw9qVYkC8fH1QAJWuS2jme/w9q7mw0zy9iAReJEUq55GGi0814MrVNH0l72cS3pq5wqgz1srgci3XnoS29bJdxeEBwKVsXYR+yT4cC8cp/5S3Y+BE8JYWYxfkt6SmUgNx3cu8bw7R0/G2qD8223z0cF2x8SIPkmV/GFsvQe4fpZKvGYGSzBWyFLMa9QMHvM1FjZrkkwpmDbg/WOmyVn7ZooP0k402b9ZJtq9zxapzB00OSYVf1Hbzh4nGUFFwFyvUIndWILaqAU+gpm/YEsdq6OzfAmFmKMFQoTYHRyoRsr7g4y4C96rjVpUAHunAqCGccD/tbeJ8ukZsKdcMqtP3YpeDjbsUdL56Ghn4QtR/j849Rv1KHHNBeWpmRAdHFq9CC5WJh9ZrPZAvcK+zyAh22jo2763njgPDtG9GT2oqCSMCaIY6UHvK0p2ZVFbHgCbOPuz42hru94PcGQdmoXpB5H5cMJryZ8d7lVLx7lwmxwvq1o1M09JMBX9t48zklHxi50UUAJGDVGpU0Vd/5dtnknM+dSACUyfUo/YmN34tIcAHrGY7+EYEVQweUA+LuuguSQUlsAoCPFhXn4efb5b6A6b1WbpXjC7IhvB57jaa/VqaHYapcbinr4q47tVLDpZkFH9/hW2F2Qsa3/UxCKzRWk8wtzHB01+vLcPrLvl/OdON+HZcVpnWdPvHUyJgppFboi6lvYq6k3NZ1BwL8XF/dF+QjLOp3+CHrcUuQ6ku8oTdNKmF6f9Inj83ffm5sxPyvNLK3YoGjAPBrdH3E6MEnoo/1GB5PzqCnfdkWk81p+opXqBLvK89NthVEXmUykWxplTEp8B7/1j28u0PNjV1tgWjgS1sZaOwPaj5Z/krfUHwr4Qb7nx6r4KF3/VfNJZJnKdGHaJ9u8hYdK93oCF8tyezhSdtWBX8lWc/LpexOX8WTTF2nQQkZI+a6veSVsCnHBIBOQEgJqBn5JF9zDehUbd+NfZha4t13ZGPX43aTqFVXYpnedE3QfImnmgfgsmOxibI1n9AGgbwevOETLlVQWGFR/kZLme0lQyzC1F7+3NK7ftSoD1hQkRRgndwOZCiuogQuehQ8EN5bULPP6qn4nn4pqnZEIy7qqYh6g02tZYBwEd7zAYDYcspeUg55CoQIhFIsRsj9Gx17nNyx89N/XZjqHwl19WJ7CVQ2T6T+qvDMleGW9g5o6jt2qychtfr5JbZpwh+NPyNLHBVKRXH94OAKdfLyowi/SiVAUhPgMEPruku+GjMt1/lL4MfQeSWzbKL2N7/I1I12C6Pr0c+aNwzBhZXQwleSk6vK1CRZum2xvXkCa9KmcqaUGn/ZrkwAUXkiWT55TTYxiTtCf3t/5gQz7rPg/0l7UXtr7rMLjnjm7XqPveDrOHwkoVD91UWJWfDBT8RRrERuw7ne1MEzfLWxJqerx0qncUTUvKND7iVLQ7LtLRJwTShJw2bHeA/HSJMuLnXUtBlLQWM6UJyEc7cFzwBeIPD+ZsyZtCcPaqLQrRRH4L21XLqpQl2QCbYtrO2M8t0rCOUCjgrC8vEvK/9l22RufdrHpVFTnYakFLTe2z57AwjZ/ob2GCqjWmIe8Qe6MGss+t3KqCuUNijD/U+Y3Detq0KJzQFJU0qHiECqWyO1GgekthYPu6pTfw0xyBLVOs4MkFIF7whPPAumBDooKdnzqWFpsaQnq5h1ualSF1hlRs7m8MiTexOnJHAPfIEuwtq/gs4KDT7aIhyyiMiJZklVDfZYNICTuuLmSlaLqIUQRe5dPVr7hQUPSwQAMujyVHOSBxe+NG0gjybf5IWjLJFr6/jkB36gIOAbPdPTzDhqGyiTsHpApXK2QmdsDOjc2d4/PSGNWHoGN+H6zQFlhJafF542iJ9wi0L3ryPdcoD8hDASAF4lvuqG4ogtRKKTveAWWjyWNRcHP8T8+i3iQ72N/frDAoXCBoWTtZW9yyp9ApA3bzXfbJOwSG3KxxH7pMvhtMxdyRipgr8XC/FmWfVLQXKLuQAu8fIRaZ/J7sSg1YUTUI97i/3EyKBPgxs82cGQMoDUc4zOkNU52rKUraDwHEQz3rgKvcAyMpMMDewRy5+O10QEBDnef1fp+TMw075lcHio6sJv+s+ovp5A72TgUwuPxscvUKwO6gq5cVAjYSX77oFqTcFg6L7bHvBvAjjEcD/PWf8jYQl+9jHQa3YMOSFX0yUH12x59uxyBsbQatpOUjWOcjtQYb+I76zs8HvuBYjs2xVCrr7TI4HsBVOeRA6ctTy4z+CjRsn+1hi3pEXWoMPIuXpPkcQb+5AxO/l2jzH9oSn1DqXYZJRWssZGwGp96UdCD1/erUi8hXIwbPnbC2Fi4ARsYONld6uU3At45zZG15/i9gKmtyj8xi+twr+H4tO3PIkSHd7IATxWUqpG/s9iidkboU9vKMqQ7F190khQLFDf/an4vi2PRl15klmGH4eyCxROELNYYZnuVlszdVauEkR1j2pu2bPX/f0ZYKnd0sh8lGJmQhOk1DRiBV9rVtItUxi/S4Xb17jq5DAePRBIFXJp1DecZuozDjUzmvILCDhwmgI3vt46uLXXTqCiLzAY5+dyJ3l45Uy2ws/2VzRdgE3iJ7nN5Vyj9PEhGSYwXpMzgA2fy61JPkqVUelrc5XUJN1uOpgKuNnXfXR1wRK5neOZupDLTNlyLsB0iDDgXUBwwh8dQ7Xa8YeS2lcnq2CK8ISJQxEZaQ2qeBYYK/df1/PVFfkMY9zte84RYQqSD9aWz9l+ixKAyTyGu6Lbqpa8bWFGsL2nqG5jNmOtoO1i9tpJmmkrS5dz+wzVecs982Tp/KTMetWbAK5RSjmZwMl1k4GtpXeU78cKmUnhFSAvtzQUj9wi5VmTe8qzMUCSWOwgC6zLFHex4wQXvmVmf1avlNyM+6BglQn87N1MuKq27pjochi8pMRtGTHAyxXCdPfSU5ykVO3OzcM5YNz3Mnw4D0vVYhTtaBDep4vmr7b6xeAG6fYYmwIO0xWnftgKxtbWnKWmd9geR7uiNyrVGjrwVVychUFQ5/IaBj1yRHoCdBhNkxGbja90uPh3Sr4fp9cd+Ly5eXcovM/44ua8EUaw1F1ITRUpLBjyGfzqs1uNMuzC0SzcRHXsmVekjVJ1A18grqjRj709WakOhs5g8fu3COmUxbz1OT5QuZXiQ7wx0eJP4smnkN1jVNdetl4hxGDLNud4er4JtSl2iSRQqcYe05U118XnA18jzTdAUnEt+ojupKZEKPvg7K5psl0zugmbq9k5Or8FsG9kZy5lQw15/hj2XlaspuSu8EaTYpeA/DN1/4gJ/akE2H0Bx15yREMNIKqAFxK+qqCoqyHZJZV8vzIGCVGaD4m/aigs5AyQWR6eqq4YL+KXjnCRDaK4YVLUpMsiCT3HjFuMJARkWoA4lqch3KFMOMopRbKgVDComfMnbfzU+pWIumP06q060ypOhw+wrslsWQEjso9m0po/og2I/81gX0G6xG2+S07DkImmL4Rir5koC+J47isTWXZysyWCBgRhwOwMB8sbhJBiAtsi+hoTjln1U5EcBxfmSIti5MWaJDmpsyGjhMRlDO3mOi+hrOalkNYoV3JzPqGwNbmaHYR3Sm0sUBcE3VGeVmItrIXfTJs5SXP1IE6Js/+MhYBKJS7Ua9DdXLDUYaS25tVH+2SSeEKvW8VUsiwFlo7ffwXKFCASPcbAWpi2Wn2tt7x4qSuaw6i53s37WouO8muMrhj24SUVV9ujC1YloWXSixvzssU+ySVR1Wv4eD6B8j7xxiqBZK+4B0YnQqAC1JjrmgSr3zbFsTZUjOLfa04/XBFcNUAb9ZD9NVdPsh7S4LYjByR40ia36dFpKVu9cYNiyqiam/RCd7Cv0so1KgxqmLPRmvlmOmx23od7wOfoSq3/TrGbkBiYorqk1tbep3y5WiwWmGL4pQc5uLmlL9Lr1G5+VJLa5f/5t7wrGcxdjiQcYElZpUnbFnFeGuveBQLdlGMPJOYn0FJQYWLd7KQsp7ty7aNqxrufFjBhOOssXKyXIiqGAJvorUdHlnItCPX74rKq8rfEZnZFrHJR80KLaDmKIRiQsphfBwhGoGZ0BIZDYlr1+Z/33i2LDz/cHn/f9SRlnVY8vvA45gIIl/5VAveiB4n8DmGtYnEywhbtVCiLxKJVclsn4aJfKBHEVzsq4OoRE3l4jKdVErh7rBsRzzU1R2/BMl+M+Mc2vy1hl0PfZuSsp86aMX4e5HgoBz+CAlMSjB9DN24db2XaflJ87eg8PWh6NXrhGggWIGVtPJV7xZXwC6N39INHCXyA9t4fECZ0/Rv28BwFs+MyJxMjJYTmwFiWDVo2IbEcar4alf3RvHBhtzU9Nw75H208TrIc82Rv+3usCu2/0tZpUqSyiSaVc/U6tkwHeXHo9zaGy6SH331zPVCrSfLLza0vldXtQ2Ni2gKjtF/Oy1Duds0ASXc1o12XOprs9ksafGkK/wBziX4Mkq6/2Tf5slLwwQ+UGKd2s36J5je1evE28xXeSzIY+75ab/cEnPFFcZ00MbLmt4HKqFBjxD7tkt7RKxp5Lbbj0HM25njd62ZVd3Fdk6ZiDHVG98JzboybmWDB/RyXKXPpG/fDVs57GfGT46ysnLZmEc71+8qGi3qqeyUJwFZC8rYHp7cZHYGGPnDfFiq4kIQAkHIuzWSHve/aR7FirDJYHfPn4UwOxFfXP01GTFMMhuQeL4B4eGJaTFR0bPP0y3wR22mFcNiWzgd8ah6GooBMZMMVCjEDvdIV2fOD0ZaHkS7rqOmD5ZH7GLLcWPaT2FscI+vGAw56RT4x7lKxLXJx/3oVKEAVrHh49HBaOCfh9QyNzOws03PrJouJwfUALLZ3/vM0xy9HwWn744vtYHM7oFYlpt5SduZH5cjUCoAZnWukz4wXEb+aCQ6TD5IiIS3uJEj2fho8YjV0QweThzMEDh0G5W6fcFHG0RauixXOO07G1/D0DeFekrE3kWt+yIdQNxxEQwB1mNK9UW695XILgCst5Yl3HSeaTMng6EZMCyqsBXExbOC5nACFtLy+HI8l0e7pXC4cLhiW44WEqBY8fuTNdFXSt5dwqyNA1J1xNSrJBzZHaJ6SEeX/E6IaEO6hDasM92cVH2qdxpw5yvvvPyIioLZQv5SI0OfsdoUAdAzuN1iMOgXHseclnmHh06kUC5qRMoe+b1HC8qKP/lwaZ3N34bdFZTea8FB6RZc9CePQ9XppmySMejrk47uIEhD5Y9S3y+4jBMH+focm5Z3gPjunzUGz39Ka/gjSw/RdjC4TLyK9s2w/nw6q7nPk252lA+Xlqhgxp1HEHUHj01NipXf9X0nIPKMOWQci0fD2CuqUY+TbB5cKvmQYrBsk8TfrdaRwUYAV1JuWAvD47lvG/P5tlDDMYd4dJwOWrIMwHGRrAwWyaNxgbMx61TTZ4mvjFAtP9NcqwmjdNzqsRtJanYBIl0nmT233cgTTnrRS+ZWXOYcglQiYg570nXRdS3h1ERWrf+YdJALqLS4Xa95LAUnH/KF2AQOewO84QN1PHFAJZ+YbcaTZkxNFw94tbF6qgX0U5Wf+6bwxKHZpbgSEFxcGkX9UdfczxbFGeVe0aSyCvac0lP9o+YA4agHp2sQENvxBDtE2VXlDKISIyP3DYXMS91cbZuBQ3yMJaeupF400xEWIP5J3OhmhObXnRhHvCdXcC7ryWS8lmyzzzjw2XDFhv0U0/RSRjmob4aLoAKvtubs6pLRTOZyQ+PkgFsedDxrT73VnBvauKJwzmGOQ6ACud0OOeGGDaVADcPCiTqdm8jDFd4XY9u/7cxp3ihBhqnzkCj+NxLyUhonfLEFkxiaVBes9qpU/KtbErRfUrONrUxKZ9G/PJGlpavLodW3C/DVw/K7+uEDXtOggc7N1G+CpAmYLb67yUAqsKcZK0HT52URdY9JZ5FIqdRDIAqf+jyrpI11n0/FSk3htbZDXG61fZiqHa7INUShyLT+r9kVxladBmvjh/Yo6+oFL8jwSynwLZBxXjSM9+h18l1TioBHrsWpG46RiMj7lr5/BgYitPnNQ4/8SWf6diYdvvWBb+hvVvPGe+U1PkAhShLdyLaxDsjb/SSSnvCxss0zSNu1sE66+qNULbZdlhHzYo+6dQ3vwHn0k0OmtJBUQuSjo+mVkbS9p/1iZbXuHWrweWJ5bzc9EJcsbifKp3UXDLgOdEmQQMxHdXNQPKBg8utp6K9MJMhyjWRX955KYzcagf2isoiTZ/aQC2jYUMCLpgodXmA9VmJ0vJllvpWQFbT/TnlZk4kgvKH+Kfpx2PC2HIy0YaIzwnY3EMs2fF6vrW7gdUCyKSlJuDdBZ+Py9oc1O1URiHwmPENZAVbo4HtPCuPC+gvf1U9gessdI5q/JBi0domud2KWI2NkBQRWgJPXwE/bBP7qotrc44NwblDDfMPOGlyD8RxCfsUEbdieuGBhHNSC1Ze7YlVp2/szsja4Gj/1u0rjGtnOJFbeBExcJr8wXIdjgvx88p7ulgbQfcYkI7TuKHi/7gDBQ54OrRdQ+VZd21EAW3VJ5ZtYjE3THdF3uLOXV+crnlHPbFAYFYpplMRGleh3RBspxb61gWasAKOABSGyKjQVfd5HQjHzvpMGkDroa35D4qL5SB0qSPXdi0PtpYKqLKqsnCOb3J2upT28QS5M5qF9gBDTTDOsJMTc6vYLlni746jgna/clXat8rJBdmjXGmNunfGhDYRX4Pp8weoibsqfzOj1bsD2HMOaPWrVd3rtmW70o5ECkiyZZgp2kwpZSh7FEQCBn7KQwCcRhkTWYBwZkZ47y0P5HDKEXSvdmiPUCREcDr/bhEPdF4uQayCpMY1GcWtCmhwRrPfrTeJCQtjLmt2e/5WtY1HyrmZXvYzeBnYfc9SfZp0tjgkQ06yINBsg3pdh9MMYM1zW0prIIGn8HVWN9ug1KHAoeCe+vPQ2+d9l02AcUz9jkUmURvnaQ0op52RUII86DJN5Y4sIGHUc/c8JRIZXhhFUmtcRz5Cq0TBA4kn0uF7/1QtmZ46G0xFQ6tfeEXetw+nk8PqvhQfh4NJQhXgrTyCrd8D+guWCKyPI//Z/MsvlEd+dgmBZb1RmXAstt4lGBGupR7RBAN8KHlqq+bf9uuYlDUcHeI5e0OCMO6H88no8lzV+4zJgUYzpceBstQpCKuSEPv9oNRlN2MkoonebVtiUV+VY7Sp3WppZYAhYRiXR87FVfN8qzsn/Za3ta8u3tlmuV4QbSX0vfVml5lVR9kOrqqxo6yRN18OTKfY9BEnOIQ5JcsLoz7pZL4gvJUBNeDPlEQpZhF1afj0lVeOZ7fR/mG//mA1SEPmyEa3TChA0SJIxnF0a4JNr0PXd5xUVFdgpyp0iQCw21v3AuVDTBOEACIcZvt+R+2iQqTwqA8hWbvwtRTYcVDT1Ongl6DgGdNdKof3WW3FUaOK0EaiJeyXDj71l+JPvCupZWnRTksfOT4q8YYh5O5eS8kIhPD/8+MDF8OWasj+tLoH0GZzvsXYLoju6lWKpOPVWugZs/03x9Yidf9lJ/Yn8gE5A+lXODG2UhHjLq60ymskCHu9tySb+oX397IXVx4/wZhML5Xb7vyR2g1xid38w+h1NDSa1ACuNQSoPX+lL1+p7DkDOI5XVP3BFLPZMTQ+mPOHBiLObnAFhKaJRm67uKSdUV+A4gcQ0YjJXNS2QLSstwY8g4L4m8h0LmZMzlN4N48Fje58LcL7KurGw3GdJrJ3e6jk1/Taggu18fB7AuY2tfDlgfcFVgD7J+3Mqo42GRb2jfFqD5DGTSxPd2Xn9fYW7TKja+6FCeufg/tGaD6M/GpyAEw6sL6ABLUUq5ugcGFjd0f42WxJ4KNezs0TDevrUCjFhRo01zPOAr0hiPj62oIAPYVTIVZa8Rqh5yQbNJoexYLx6HPABpKKn58HlZxduFjca/28GJSXjz/aQ3UNZAuDxHh7JJoD/f+kUk06lnYkYhukDoxHbwJgFlNeCobDTOVle6igvzhFL9nXx8kr+xIgFAzr1iCUqmB1QLJT315qMu63UDikVNMZyuUEwwQro2ZxWn8zKnwIdD547uZXvho4/DjmOmmxr0S1JDM9l9PK6mGZ90nDeddgsf4K9H0dIUaozKUpSgH06nr66oO6KLPwGU7lmDmSJNnszXG5d9EGilhuGkeZ227jmIfyzYpbpfH3MBKdE4SmV1TBmfiUJ999DzYxQ4mkEjDqtqBYW39U8RuUYONfAoToZgsw12i803jLx2okakT5h5Yj2rVAn6iNSysg4QK/OBcMc3xbZ5/I/1xNumsDNOdhgDVA1n3rIADS2V1k2VqgFroZ3yZTJ5KvTq8Gxsc1rh/m63w+Db6N8JcC3AKNl2CtHM2+uFsoUWi+l5fDOzPFVfoL0hRROWi7Z1cskohaxcOlRAFIRedBd7KGHWLLjyOAoqUfS3YyshSYkYsfC6uu+ONNx69hblKF9iKhPkwtDQEZwtAvs+nteGkUSYZ9/fUpmnNWmG8qrzM2G2NjtSvd/Cs5Iw+KpBmjggvWjrVuPJu0n3WDsAwLKk2jN0V7+1xy3Z1uadKC8XO2Ya55RGU/wyGJDl6xNZN6FIDS2W/vdhszihC69w9/on81r2mPQxsh+MYh1n7JGcQtyvvHetSQukT1nENV+9xpAzrI6P9HpNja0+KmIr/FOg373vCKyWioLThnr6lgOFUp0I6PRN9saIsa2U4E7LIJYuGMo6mqc8cygouiKTrvZWRVpDA264+bHT/CBN0pyhiupcgLOJIMrJbpWVaqkb1+dhIXeiwi37+Oer+SwNUx8SiChn9Wu8A9uDWQ8pteb9GM5tZpkCOFWZnN8lPyngvWDPL2GY7fCUUw3czD+FRmRqymefjeYXgjsMUy6SxFCkiQ10GP8wHfXGF53dd9PIRI1i//qsIXR9MCAjfDu/giiMxqAAaDiCAhs00HnA6ExbRCRjZ67/Zp5e/6f9d3oGKD0JnDgy/FmghSuQEUVx4fF484oTsSTYVBdu9FffxrDfHvqzgULSKUtSRLpP1Lz5feb5ZlnaSIP1PvbjD14eKlp7uYOPHmph29fjykHxMA8Xkyxwf3FzWQMhMFKd1/UGyTixktqs7WGsYSneOLdUoc1PG1FXGRkIJ/5iXC4naBzJIshWcxAOHbqIy+vuMiF8moI3llBml42AxukVzkE8mx7vpE3KV2iuinBsgJ/aYCQQ+gBraTEMVocMQC2h4PS+b6o3AK12/eg7oRqXfK6DHV87woPDBsA3GAqmspUG8ldLdo9Mis+2Nq3BIz/DRGzAlRGvkpnYkMlyizJtASy8aTxvWLQj6RfET5ipb6iPNWrAV3QYfxnUxjjd31WPprw5edrfJN0A0B48F1xmfCHUidB4IZkKMxmWkvPVijr1AadEqwPZJ/Xo6cFCTCpirH9ABPLh6BCxx/Yv86O3KE7dqVxhrtqxZzVUoO6XtfSd4GmwWlfybshd/oi9iwE+RcJT4LgKlznige0k+ZVRqWTmG7NIdC4eI2BRgjGjo9yn2V81z73WpI/rryBnZZCgfWCinIr7wXG8KRk8+J/LJJ/xroWRIovbhmMzVURBC8KnfOdV72CKH3EZQQwh7LHhdVqufMNLwocxeXu+yuxGEITw7xV2bGf01GPffceYPHP/fuiwOv7lptLlXRcZzWWmQbOXklCHJ84SuiHM0/YxcyykTkePKIWuIBZkSCzWjk+NBkjPgAiTXrBnKf0MRp4ZsOVDi2uJ1xyJLSCFFAA/CpZEeM1Kf3DSwFSjWOGCT/y2K0qeVtka44ie7v7OV80BnAYrKsAmrsyX4Eah//EVeaCGRMFXDh4K3HtY0TBLa3eoK8L3zxj76ihISEagpOHCqmp4Dm0lmEfh6yQIemA3c/AqBSsfoBQYrhO6A2ipsvn0oBfbHHJccosRzEEr6hLM8JHEgCmh0D5qBa6NFutDMTry7bZ/xG3lkpZTi1LDKmPztD6w0h+w+si6pcAjrYgpkXSydM4A43B0HqQ0tpxZiQz6SLwAMKegFTi57l3bSSwyNXnwaROMahDDDIYCT19w7v8ih3jIczeiWHciXQX10cF7uzLqhPCzKkmSbNXbN7voq7m34/7ZeUaR9bNCo9n3/inhn6l/3DYiEAacoxpbELPPfZNnUyv3g4N7aoEJFdeTVqeTHYRd7riBSTpZSHKNEgyofAS/+lwv5eysY1c1d4ab1IMAEK265knRKjtkxIGb/2ZoZMjohufi3Oe8cXG4iiUXf8GN8gwJRNDvQmArMYpUhgOZ4cZwYHBQKXhbfAoxquRyJaQY+CTJvNnusKiUwaUJeHwMILYxf/SAjPlvhlvYVD76hfBk3i3iICPmFitLD3MNAT6hIh1e8TvRErM5FNMNE+RySuSDIaDFVo5BqxtfnN7blLEg/ONUdyxQMnaeOJBWyypQRACI5OJcS7uLr/z+lQKn/KYeNQHT7L6rmn/Qw9HTXowuZDWuFcxA9iuMrzMzGQjj2Ig/3ODmme9C7WuNP/wEUM/AwbgSIGjZI4hrkypYiV34MBaf4G/JuQnJcqHx9jGKWugIQHrpTjtefZ3iQdqnfs6/DIDYvoZw5o+xhcv9kJNHfxB1dWRmfh6R2YXkHRPuCg4K8TdfFD4jGBHUoiuoRceVs08FLuDxQ4pO/BfEDiM5ybzeTrtboRSL6V7vu9/qKQsF5wpN1mM+4qlbMAUaD87eb6GntWmX2pBn6N1AhhvrsoICf1Ulb04hkrluaoK4nnIkY1FYF58AGnwNKVHn2fnJbhpG/ULkYEljpctLekAvcx7PBOjVEQHcLDhu3RAD/DgIVlA9ue0kC6MRBsl0GWQ4/KoDGVoO7/Rl2kDT79iYIDKkdWsNImC0mkYBRqPey+4167GOG9Hkd2fTjbYeJQs7M5oicYwgHyCzzWF8xtwNUQPqWU36IymemLhAndiaKcZcWxaJ9ctnofufmQJUHMe1CplSY0jGKkrRdW5h49k6eHvr+2Xcs3UkgosfOrs1efz2pUmw69QfUKYTfZUnk5RfnuLwvwHQ90vWSoFi5xK7+0C9hAylQ+YwytNGEfMiGGdU6gOOR+ewQJJONrPejzwmXlWMIiRty3/X6gXuiqywA9DqZ6NpW80gWlScbCym8TL8vA3ZUGynOnl20i4Qly6xvgcBhp2jqJb8dnNswh+fggS10+mHfttaGAK7EwR3iikypyFJ1zEt2GgLW2nAkGIpNDqHOPHtwa+CcroVj25MBFIDovAkfS3ZKAANG3sJa7E4/SBghvCgR+HHA6i8raFB3QLP+2QrOpsaEDz7q4gcCv2LO2Nk0zDRJhnx1DHYObqYhE46pxo04Dl7keXpokvvSXl8MiVKiItxbV3FsgVUr42RTZVvkC4VWfdIFCvSPPFFgeRUJaQftWty5M8Ebg3Q9BWwed8mApcSdXszpdvifri9SB1DPkW7+4msLHLadCM6MOJOIR+lDeo9hmdcUiX1Tie5PBy6Hmlj/1U7l2TGNBJjcKYQ7jLD7oXyyRewERuYw3l2CcDvr/eHMrLswMlXDEc6kHmg+yv1++v3d3Yifu8F2QsHhqYQDjeAJ5q6BZjiOnBaJVpkTNNQiTnSBF8vVP1Zu1jkFJt9B/TKXyhj9B6UFQcjUfk9Krut6VBZLvhl0bAHjzeywsDz93ks2NMh4MznmiXuLOEVhTdsc8sxxrVGGLsdA3o7HC+SC6ZtythaVVeeuBb0wuoYIA455zVzjPllOXta1gjD0fdSXt20oRCwi27Cna+KTxddAa+HZyAtIlHr/5a0gdI15zsXxU4YKTyucdiz42f/uuUkCm21iskTBQ7reRM7jx3rYDa3e4PzTjWsZXltVgKvoW7sf+Y+CdwJh9uNzXronmgxMhtBH/+KNU3zd2CO+kIqwQNtYJw71HeMhkuzWT6BRr51sa2fkI2yrThmKmEdrwi2sttPOcPQBKKHwnpYzMV3VbvYbPj2om36Eme8T3tkYc1Ym+/b9XDvDzfQhM6N8EK5C5567wLkTQixoW0RBMmvuIy3+2AGzbK7L9xiREMuldj2fRtV4zmcsNevX/w9A2gp/WbrBA7mWtMzEqEIyjIjChXO1k3vNy487adKYXhXs6S1gZlPG9rgZjKz+l8iw1y4WKOkfnhBGo4fyVHFimqFlLfpE0Vdmv8BsbVKPqrq2mNvkSqcRd846Wn4G+D7fT5C+PMrcS2yQTF78Q2NMYe5Zj0iFWoqIV+KCRQr/NKnlz58IRH2EZhy1mbSgGo6JC4urL82J0JbHIffRTwsbT0B7dW5c3EaTyI0VFbJDKoghvdauXoWJdl89CtFfk877prrq9/qQukXto0aSb1ZGwpzZy8hU9x4EGS5NGQwingvREW2wxJVUU1QR7bjddaaAzY2bw2FpMWyMqZs1W2ZoJlfXbYso3AQ7Yuu86cvVgcoRoLWwi2nY3HEStJxq/Z4OmFCND2ti9tIN1gEx4SPs6+KQmtfM83UyXChL5SdkCjGOpiNKPVmkwpWTtVbdQAgXPRXkAPCne8TxB3nZNVjdcD9za9yA+ODVRbifaa6ZFrIcJEvdnom58BAE9LzFILAnsjq4meBwmFgPNCW+80Ix+/Cq04cUL9Kj4DJQk3+7XgtGNzCuV2zLAx8pY+9nevjFFY2KsrlDFuPDlwSuY2UAJsPicLc3V7ZCU1SF3QIdrsgH1yYuffrv3NyNC/hHz0SwdCbhJ0KN54zjkHV/ZS8ue3Q2wmt6Z99xIm+h7DfwLN4SDo00C4OpWdLfO3876YmO5dDA4RPLyJaJLhgvojS2a8K9MnNiEffmxgNRyDjC0x3wBIzY1MeTOrJ8yTjuKT/CXyuPyFNUVybW+dXWMZJv6tkhCPPf+uZm+IMDbYneNl/w2rpBSGKS2w06H37fcoUY+XDTFdHe26P+L6kNrLIDSN3J5se1sRySeaSmrBUIoo2x/340R++/UwKt8VR7+nf4zLMegQkjQ+ES2Lzi7ygqY5+KxX+xftM1fG7tlzl1aPLg51Lq8dHg11tM2tMWIbEV59lf8e17ui9Z15q1hgePKQxfcCZbrrCTU4c2FAbMDeDR3P2bdJXJ3aZM7kabkkya4rJV6Ux9KUylTLTIwFRpWyvfKnAD7ziiYh+lKcqkF3/AZF7UgGb/s2HSs1pQiVDdonDHfx5tKvcSAfSeSdonTCebQeTwKG8nz82E/CYQ7GEhop2mc5moAabwSULVtHvpmjyNcJh8uwVa2isFXJz3bV3FS1wbAaQyGeRaCGi8elpeYgGahE2LGjdaJwfxLyz7ojjku3FjOKt7/2UirQB2Xuke2V+Tf6iXlWkYW7c25LCMhVMuoRQMG7wdCNwZpxeROQaLC++HaP+PYfqZAiV2qzmQgH7gVc9b+4zr2kH+GoCR1iJyGgl7kmPf9GxiNYr7QyLofTmJN8/lnvOmEXeSc9GS83/sdBq2SZDcfcG7Jrck+fRvCANb0HZRC+xsoXIi20FPnVk9dm3gAGJ9iQlBW7lXlk73IU4IyQIa90cSaI6xNT4Xqj56eR0DBWEVqdDBEjcYc1FNJLyOud8HJ0PyiBUaCp24yczpIx/QkwUsL35UG/zI7CAAS8ALi5fG3ud3ABhixYfDLr2gNSnPVMGFxalNVRsD0aZloomCh3YhRS4QSZAn91hey+Eh+VHNo/mLOH/pAF2MYvx1V0Yp2scnb998ZFI6ZKMxBiB8Hf9VVMEdnLF1spnkTZVTUN3+LMJ+ue3IalkkumioqUCyejZsg5Ac97UwYXknARVVzPAB9feURTQDqEucq5nMeOs+YPVbtQFV6ESvOdMwOkXkXG2WIZKexgFb4PHoqcDTyCyf6zUiTZFJ1SDzWXjeVvYmO1ybss2tz3TD/D3EBTTL00cd10GukV74pnwuA06abmKEmZxd59ovQBlCEcjjzjBO/P+R+zd+Y6N46utS8yKjqnCs7lDIjE/WpZGoL5/i8Loou8Kxwh4MNnjM5aiJHQ4lLN7speBihPMkDpjDrb9FeDY2325Gq9ZyetN0OBQxFVsSP+sinfVnKJ7dLS6+cPzltKOrihLR5g6EXOX1nWD7IkdfCX1inyftoh0ZLtmUc5F5+3Va4X1zuEjJgnvMGyGVj+4/wL7xBqxBbNOd+VkyBDYTle2jokIJ2NAatuLcCxaVf1FZEcE8pbSAMSZ4Xy+fPkMluC5B7fGevs40g8LzsskRYtoaw8RJnyRoWIjupPr1HL7cwUagz9sMXNQVzDMxXYNCR209FnZTRglAB7im3BI3sdgmI1c85nrHKXuWp7hjol/TyLFSTQq0vb1r2wuj4zS608+fIXYOBSXzy8iSowZmlSVejlO4LS8afcKGZTiH8cECEiH52r9+cW2+9GC6wZIZvnVt2UkJT7xk59Ril6ET1PuqBDdFxcoYpal8m930ePvKExlvo12ZfxjxlOORyKnvYvtuUpuTGJuhjbh/ahM8uelB32Ohi3v67CL+77SpVU1nYd6Ifzom6cI6r6qYtLZdlU1rpGzgOXXKQa3B/g45cF1VMAvbgpJQ1rCYNIi4ns94sy+1Rp8R8IFDUIxR4jndC14fmkMJIHgKDJSwYiEhJIUsdhzV4kmhKkqFeF7Q6Y69E5tOFBzxQtkRv/QHz8xMpvVsez+x+rig5bD6zGmzXJtS5YkhGHt1EOA9C3Mh+lHX1ZgXTava74CvDo46MvRjAph4/g9G9gh7exLdEXqWBN43raiY+PWwlrasB0BOT8vx93w2tA8+jIQoj1vI/W9v0p5T/dhjfLKWdItNO1PFceB8rwWrGFlrOwFJcsjRxkmhRLa0Cp4DDwLCVgVLA72aSjEVEYFU8aqF+c/+VObsyqttctPGnf4vt8Oc9Xb1pvaagFXxWdIyLiEdLqaAq5g300tQImob4EBxkbjHETxokM1ONuyTbCb5nMWnH7D7WDNpMoe1MK2r3tACDGQ8RYPk8krpGOkE1vp7OGJh9cSdtHsNvikJz15/AeEa9ez/P+AvpNpwne/kE6miqMJPfXssBWwrWONDAS5irR5le1QGFsqEVclwcMqkfVf+kRP8X6P9+peuD4302N1Pd3NBZvmPqIpWkCVfilKW3lEoYf0ZfMVnF0cZ5niaAij/EASagvHxj8mAHK1WtBAxlXJdboF7T6UOH2BRsrZJ2IqnldfvSa764ZtMP+zha+MfKaRgQT1yPGpZ3pQVVMjUPAZtKRr2zMJw3CQSfYw/H+JLFIkrGv7AxPKGV8o6P6cNxR4Y4xENKr5b3XHhHR4+EVoEP2F089S2y+NfA1Kl1Xm9F7+3Rgkb6YTPxovIrNBjdD8P09NlY287D49wa7jBTi7KA8EZbg5tPOP1ONcV18CDR/3RObddGofDppkOQLadR2EPkH/TYr+z8KncoCSWNiNUGj0y0wwX+aZAcuScD6HoGBUfr/MqOatHv3a5c7MUUcy9UcmSJl2SHxYXcFrra7qNtnotFD9c+alJkcuXlqG5fXxHxFmDN4dZd+WOZZC/sffFGNrxEYcGrviepflO7wTMJPLWtv1bVXwHo8GkqRi8hfSUrZvUInCraheY81xdD9DUvFJFkAaJf2EWkJZ0G6U2thSxstIQxceeJKrX6r5RIqeg1RjSuc/6+cnVcrX622NHFskM6g3ZKDk/EKedBiKUV9uwprJBCcJLnOIZsIr6ch29aGDP+9UaLIA7F9TUOC5et+Wiiid2VJSkhM1zQhJdV8GeRBHtn8bigohgADHdohCi905S1TgbRxPbxOHUXVF/wQsVmEFmiRphyGDHwHJmfUJeVOY320gpdkM1RSsyg9eO8WeKqQjzYv680PY5WLJggosaqmPAsO6Vjd0Dlppqw1TmNVAB1G22Tt6dqgFc2R2nxTB1SO9JgHhI78BKQZfDbB93n6Rg3uG5ea7ZmajywpYDRrG2JIA95LawIIPr7TF2PUnxN4I0MKnGONkKvkY2VzhNtzhbPSOwq57SaxXIOwllpRBeObimyENrRCrLA/vl8FNhBDJdVUwXd8Oa2cEBbkK8a3mLLqweffikSveMzKQmdVqA+orG7N4IEGV3K+mN4JJ7pWk/JjGRcAa7GXPWjB6YdkDnFPApjmiN/YpsgzDpi9NazRqZ4oHKq9nUkT9jfzT4V4vhtNaha0cMT3IodzykU1UN6HRbrvtSpz2YunIW1IF9K6RxYPDAksPbdEsTm1Elhs7UWYrIdQZtVq/FpM4k1rwKaIlYxY+fq7eL5S+h3T9LOpIPAMXmKKNePxQ5FrLmVUI/8hhSWkfu9aoHGw9JpH7aK7CA3/Yp9Bh5EvI6hr32xsei8tUDJNn7V1KA6YSlMW4f8tmB4eRw5JDitBYs8feiomBcZPWK3dbWqywpefzJsNaispdo6G+qlie2rloZnHJd19cjuShkThb5FZ7GFjrFSpzydYBNeKF8yfRNQDRLvxoNJD7JvU+g8rNy7y//GH3G0nNoYENmR0SJUSaU/Sf8h8HbxTeoFAaNgxWqC/oLxrxaZExcwaQ8NVbuZY1JyjFM4D+rRNGcc55K6F7EBuF5B4RcMa23osMuGYjZkHguwGVSdSbgDEzwAy9eRuyzmR1u16sBkfI5mwggBKIVelX6TY4J2Jc1SYyMfopaCQOCuL84bAhzDNFRx9lr4cCG3bXzkMwa6HFlKn97xebMN+9pMeyMhXLKCJ2a5lFTFb3yEXVxvTdrBau0LUKfp1e3IoQOxnjXayTsiPVakOG4GtB3Y6Y+XpLM5F20oPOU936lw/QMGSYwjtiMS181WFlxE6iX83UHXwpIJi1ckzaxekqTuWZnfZMqcdIwPkaXehy0FAUVKbJT1FdjFIll8nrgMCVgWCSeCeExazsup7Zn/h4jIuGmn1ZIuzemEOW8DW87HoV+Mi0AgCF8402RfPWCzU0F37GeNvg7x9eAxea3uO5AGKAE8OsoUvE9moM+fsRoFLw4K6O6I1c9KrTOnoZF2DSBh0eSpZEwrM58vL0fnqHKsmKIA5sQbTt7xvevJSAO30uSQCH7qZE1F+hh8BeRMdfQx1Dd5tNedthPgIh4a+fA8M111EutRmsHM3zBX05m/OP5hzr5pLwkzGNQjyRhLeTkePYuDgIjxZF9m1z+jSF6cj4VBz3uDYBnjyNokR06UNL1OqJuavFaW8lY6MECq86fTTBy0Hq9zNZoMuyR3yJmVn1a037NY4ogWDSXfKS1u8IYRIv9aSTxDz8V+dskkKOU3kb0tmGq6moUvcldW7GBNGzlTW/03YnKY7TKsMvG8gg8qXgofjU+oA2OyE7K/OOYNNXeNHm9sFqgmHhbYVpPINjPTPAE1Y/uONdu/58GceMHtVXhyUXDpo3p4W76yzM87mWXtFkBIenT/fRQI7toO96ou0KHW9/UtykwR5P75dkngtQx4LenRZ9X7MOWSg4J7TzuJP5c2CO+SLyMaFJcVFU4yYoLuTS3pRPubIcmUtxX6Wp82J8cq2e7g+X1XXxcOjEELZ4VZjYzXH6+2yRROk95jHoqC6YmITEKlQpDKinjTiklsXZsxFdngdF0nz07RX5zetCQFAJO9NEAfjRsk9sZHZdyG0050p9HUrSVZhcHBxFO7h6DTakUFA8HF3KZbqRI8zKwc+839XpLo87WA7EejOYy2UsEBgUMOyVnH9ip4KTfIG8gtvL9q+ngFTEEUMOzu1spd8N/GU0upOXqdvTpXZVOeEdOIamWbnuRY9+XnpcoVYBBfix0MAuNkv/3bnmKoeeU+MCjG+sv7nqPCiIn+P3qzmUkITqW5oesaUQjCPIia+g70bXmP+y6eajMDYMwsDz/+FVQxi31nciAjI4a7OWaV6ly/1PZHYCIcBTZ5bNZTQ/WTbCt06fSZZiCzYE4mxi23WnpZHtCT+aDjR64Yh4vRLfTLLc1q3b80OQb9u9LeMKYuG/dFp4v10s3v2aZyOZ2br//7mpnVPSwBzaon9EIXbu2FgooPtvYB2jEGVjXnNm5ZTAbNupflyi3nQI3Z36AHPYkViI+z1ujOrZTmEzFqvLMm7UZYp88iZdGiaN+p+LUqFVSdiVhNI+ljnmdJj8SFt9dU8QjcJPZ8NKQMGwwx3hcZYHj0ZbUO1M5dExxQwt2+dI8NHtBRy/Zx390mYlnuAbf5zOj3n3WO5PH/IhgPvJGsLe6tEcjFJVfXi8nYjshEI6pu9ftXjbZebjWmE1Pq+MjWCRquh6llfG1SkQIMYbez83c8MxD/x12IGSW08hdeDSO+h/kNA7f+LDnfjjR3y6Ub8BUGexkDd5E4V9kWlOJml2b92HiYfp4ORH3bgqeUrYEI8nKnRglSYVM8cadOLnKgPybPRAwhRloTjdAP7uJIVOtWwkroI+abA2vzK3VLeHq1ArvTTQZY56iZ9e7bXXZG2xK1lafvGQOQrhbt+KMhPXyyeJO+Vxr9WuJGQiax62f0UtDsiYti7Luciz4eMu91UoIO/O3CLPP2HPvEqIV4+othQXGsa/ZGkJwoj2Pu4Yw==" title="Mekko Graphics Chart"/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316406" y="1254305"/>
            <a:ext cx="1978400" cy="4169381"/>
          </a:xfrm>
          <a:prstGeom prst="rect">
            <a:avLst/>
          </a:prstGeom>
          <a:blipFill>
            <a:blip r:embed="rId22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 smtClean="0">
              <a:solidFill>
                <a:srgbClr val="FFFFFF"/>
              </a:solidFill>
            </a:endParaRPr>
          </a:p>
        </p:txBody>
      </p:sp>
      <p:sp>
        <p:nvSpPr>
          <p:cNvPr id="239" name="Rectangle 238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1QIPyzdgiLUyzw7mgd0jqO1F7QB1f63xV2T3YlMOy0zs0D81Ub6O/Vm7bR8vy6/faHEFgfVJtZJzfsDee5X5Re3quTDU/YhWrArv6SOPf2sO644nET5Qz3aA82cs0pGUQcGX08ia+AjSduKdOACHlcQszaFsuEd6slKMK3qzuaAQfaoRfInBTsaKZW7gpkweTrhtuqxpi92dZCCPsa8Y7j0oM0P2/gkciLJSM8NwHhVhgU8S0HGNoosU0MhFb3Zk3YzJku971I5rlroYEXPBRqW73ZiIuN/HkIEOwX9OwL7yfXFV2G9I58hSIAe4P4GKWO6OH+9ksRwvDAzRZ66RVmxdEO/js59hNbgk05Dsqzt60mBSoGR/oIlyApw9sqVsDRV7pY6giZJhw4Jz8Wd0wJ1anlk6J6d3TGeTlfL/GAj8dAlQ1CrfFZMBNprkp7qJ+/CblrEcCokwI1wYWNZCdL7WSUM30XMCRcd1CfpRkraor0NX6xzwKdyoThZnQcMpHtRGbQ+DX97D3Oez8jsfATLBpXxBmy+/GIPnGWsuqHthJh7VJxw82P/Myt/CRQSMldeDQFCa3gon7evCX9toc2ncpVWa/FnxCA4FM0Gzo3q56Nwt/aElFYxOF5w5P8onvKW6JhnGrQ3/38a9xmUsTQd9pVgHeXn3ZmjzntUuidb/kCVVCKfi3a0z1CJs8i0um1xqKN+2T9v/ziGzKTKG7Nl8G16VMNVrF3XbB9uJlxPdPIc5n6sBQ9JZJzCmJZjCGSFUUTjGFUXGK+9IHRwW73ZA/yz3JEE4dsSrIvHnRANRAoNtuaJj2V+ZvVdglq9tdny7xRtpHMZKUTIPlEYOBCBLsei5mflqlw0bKsbxbrNjlHzY/Dg657bTTIriPLIlc6LvLpbl48V70L+I9N2iDwMTLbhax3Edp1eETrh8c6TvQwGT36pyC5UBQMlj6/aqqBLUSnqfD/s2WtvUbJMCicoDw2WJnXvVkY7FS0vVzyUEQ3sVVGL2bCngvoLMAv5T+ym6b8gA0X6Ck4E3ubmbk0p/kW+1f7GeguRHky9Q9EI0p6Np66w+478q9z6EP9n0WODQ8pLzAuRLX0QMfXqWQQ6wheO6paKCKZREwdxm4/PsPQQVC+9KQcRCYevis2K2sB5r9HGHqaJHomDwxHHXodZwnJhCIuqqjkloUk7H9p0DM1bSoQe/7wjsT+zUx5nuXqB1++taQIMTpGu4RN0U3pDSIsbxSLBirCKBvhIqequJfHxYZYSgQi70YTkR1nI4+PKaGf+sfnqCQkcpgvFG+yCcJ85vZIcCZkROgMtL9w3kOSFB7z38Cr1JdtC86myEvQxxrirRDMfbpb4XhQFOdvDXyWtZ+skyCrSo/YZWODWYIGcTaNbkKiY76HXv+wSOWz2rveq2EHPE+fhCy31QSMy57bFJTK0FbXnECrM2/h6R001n524Mv0zg7uw8EHR455Yd5N1fesWdlS0QKPDCdfHiTcuZRIv5YSbPYoUnlGLmiLZqd+Fszf0yNmbs7qiw67ufL0kErJSBV3nliwDroYR6zWT2shmo3y+OpO9Pogp5iq2R4ITy0aQOtKpey6AIqI3IXtJ5WmTxSImsxPUhtJk7pPXxh4sCUMipTtBwOrEuFR8y/PkchhQdIoQ2vacos2lMNl3dImraVLNwxeDXivrmLpAGFLIubJFqs70G7DOKNumjcu6WMcydWLsXvYMgnDF4BMG8JHgqAAJpCZJERMX6BE+DUn8XqAwQGRzgi9trr6gZ+ev4lE2x2gbGWPkqvpUxuDLGF/1MjDstYQaiW5Z8Lntf/209JVnDWE3nprHoQheQk+VC2VHM1S3MoLg+ONwPiZnvnB7eqrhYxqDcfDJ30+FASiU8wkQ1T7X1Gi5Xi9HqYitIih/olGotTyJh9tvT27NCurwzelrsg2ptnCRKE87fVytDJc67ZUyWLCm4EbfW/wETiRG1PSRhIA+53CbKWmRbUKS5pRAsAxNHEnz/jfQEtpjGa45Zyit+NwVDz9AbzsEHjGRZ9m0tPdwtEIMbmU+U3NJouGlsRt+XI+8aznE2RU0GLP9vI7UhxU7z3eoo/kdB83fWpJle6hO4X3xlgmCkv001R3CMVcB2ykLBt6mAMAp7ycIDycVoIT7uZC/+pg5hilch2fOu6a43AOPzcpr41/76wgBXDEOxic3/oD5lGrz6PxwErjLw2n73GLGzvIxAs9flDAsLoiJPA2oxEBejDjtBi6xQMdT4oqApdDSnzNb0o3c5oUPjWIlSGXy5h0jv4VLAi29GP/Wo5oU5U04gi/njvaoim7MmQ2MKerLNf0tWvIsFcu3/lJ63IUWXABFOAjsxD/5XyEYIcBsNCQAAH/g7LTMaxvH2zVImcbqOOwXxjdmApXQGVa3Jd+N9nThHo8PvJFjXM+jqQ3dC8i1hphdsVs6s6Xx9uT+47c3BpQLbPI41r7rSa/VwUMkkip5oSSkojkdVsMfcbilhaQ0G4hxhEjTffTqcLkuKocUCkVC/q7KNTWNgikdp7+lhooz4gmyZpVXAuTOHvRhWiJS1T8hu5W2cNZSWAucw0i7W2b6P7byyf2bftPHag6B0oUl+DYeBVTBJ0jDoBvpHmFq4iLRnEjeHLtOhM3tXwnMEfKqUy7DYTwxVKHU4mkLEDx8wzN+NByAjH62Cs56PjeG0SfKJVv9AhJdNkvY9Axh/rmYzEGhNz3JCW+l175I1n7+zLWSYaADGEq/BX2255LY6KTKaA8XBG4GbhfbvMEigq7ejPYpyrgggUkcJGY7IonOnFteHhxXmHzCtd/CR+WmSBR5P2OdVvWhwspKXq1t7at0yRRZwL8jHcXXq+/dOcW9rhrh9QCdcptL3GO8HrlSWemQokhTvA/35xNTEQr7yROnAgwHSFKbxPflevUm5Wq1Pj7OmMUdRRRPmomQ/EWm1vq3WK/pPv2AFdNGMpi0jO36QnsnO/AlTdroRclxMC7fA8wdcHYJ7leacZk4JKGIh8eloe6lK2oX7oCUB1bRciHUCasgWAR6jHNULrG+aFwOie+RQ1kG+um/rtmGXfEcIFa6S+HGtJ5FCP8/dg/ww5viJDHWB5apZY5QGWPLBZkIO8LmI0ztOIjFOlQHLXXU1k7eMMJaxyUeF+Dd9zbCGJD2D+HO5yrYsWWJYx77Kq5mCxXtd5byNki78+0qciWsMHpbGa6yYDbt6zB4PCo8iOXPtzy0ziNKHqeXndXHyQXp35KLIY891KkS97BE6USMgQkopm3nepUZrPFxoyyWvh5AXjQC+I7uLqMKBbMyzGdhT8DFL9LyMupLETd0v3M0U1l1jVTurA26wr69IwRro8a0eM7tE/Sk2jSZVe9FcVEQl4msIS8jcKxcOBvH4Z/lWxf2QxvYl+e/X6LSTV7/6i0rcdYbEymuQzV44XLif423ADfhepy1PShGUPlcnPPdrFMrxGGkjaSVdMDw+10qj8UV8SH2EdkvMSLxxlHzrFWOdSz9TcAAa5w0UlVyAxLKBukMQJnYA3aarWHDmTEWyRNTR7Y7z+1P1xWUI0nDdUYhWoXiDo6+J5YMuEuTgGBWmRZGHlkFA9l0MYieau3q3qo4uawmJ/UELmjHU4v3tmFQy2qRCD+cSLtoL0+98PN7shRZX0jT/tIY6YWBjbPmgT6N3C1zc/A9hoTczxdnHQ9Q7kBXN/7bVFYIqy5fWXiRLSWDhtfg/IByngv1GC/UoSO97VSoKkjJFf0806aClkq8j7w+BkpFDCl/OdKaycHt/d3SvXNXHVbd8coYwyCXlMVvHf+QQvQMb9ZTnQrQOfsJ3R0isCCmy2yZFogh3J0ory25OuCiQUd77cAtkZnRzoKN4JzfUHImun82swgYzjGqF1IsSPk9aNy2EH21Yzlu15zNfBT3YkBibL5xthG4TcPTu7PIr33X767MXui63S0YhXGx2hemHnU1mE+fAmhAMrJNxFgMmitRBLo+swDURoUP4ukTO5GKsHcGHy9LhSG1vdT/2Sm3DNBPIaJOiHbqpQOdPOkHfxQ6UOsaB4hmbwIWM8rFTFCbgF+pQoqs1KyOYem5CsqJ/XLoH7eWyK+NeC8W3D4ByaXHVIZksyIPNKZVmD6Y1fWflGcaAlwHUNmQn2h6RVayT0HJ5Xtp3hQ28OlEnpJNvJyFJ7eeEpo1I1cKgaJmbd96OADzLouGWZQ/X8M7vUkq1sG59QpzT/DOpMBWrfxWPNaOECTv7hMLSCl7FoGjpnaObw7vvyt2Yxp+V4DA/buJoecDVZ6CfkZz1QIcOrSj+8LuuQzL5JW6PKKyMSmgHQoygpc52KkYZLQ3VO0f9zG1P56tAsaN2/6dXYFOAyOLrbVHdV5t7YxDKJaReR5ngyjN2k6K1nB3X5W/i+juzvB8v4nCilCX6Y49RhITm87m/KBE8Lppg/LM0AsqTcFpLm4808w47ONNWQokmR4t3yiQke2kg6YdEIIEMvQEKKaiwWuJHLliaVa2jv1h2A9Ak/3xiOjhYTw8Uj4d55j+zAlyKuuUS+DVrbXfAsEV+ecygGpb9Tu5HpJhcc6R70mdLlYoosy3Z2ssTLbRG/3WGUnltg3r5IsqghzaQN5VQRnNf58p6jjiz1/i3LbRDnicaNhNRzIoB9zl9vCqlLmqC1xsgl3sDIaTHzY5N7J8Nk+vgJeei8Gj6DtPs42gFVhWXtu2vstiWmYTTZiGQT+I8FRO8fucWM3YcrpaGk2q0fA9Fo6RipA/LqNGV835N/aR31MCx0pd+Ml+gLLRbYbbbPm+Cnn+tv+Q+Jc0nn9XNkUP/ihrKd8FjuIJV+c0XW5JLgsAsIgfrrI/ZOqLjvDoROHzbYLF+iutuuCFWJML0GHeJOkOlMTD1OJFCvAAo/jqg7TGH04HVg9VtNCxJk4M9ghVncYRIB1/zX2VWZMY8Uw/4gywi34BKn58/xe4ldHwwubC0ur+IdlvmxVNYRJWXcavObp1KOXaqFzWO6VqqSVEerVDvJ5RLLPpiNHjN+2EjFUFXXOAC6UcbESnB5q3BYRhW3qZ9z67MQcsp6iArPTyc68NO2qgjwrylCfuxrI7vsvxwC9pu6w3XJHd4mqXSkVdXua1ElWf09HeLoh2fewO5wfb7rtzdN3FNI3KAiYlRVKq89RrBBK8itGZU5UI8pK7dZng2oSMpZHxFXXoYS2rTWtqn/V/ZTovjFHrATVXu2GKhP/4FZrPdKOQg3VBW9+Kq2WME4cM40a36pRaVf+tktV77ofkQUyYG7GD4Lab/CglK1zS/aXUL63qhPhaHlVqFaTCx0QTwQGFeXPCpc3ctylDKWffTtA1pAtNObsriyeHVo+3VTu9B93Tt5eUfyVha4YSWfb1qVKxdZ8nYizWbI+laYCXrTgOUEdpitgocIRWiwX26kebowYmaeDMtNDcQno6iiXauAnt9s9+58Blrz2h/iscGbM7cr4vU2mkpW16M2AhGZ0Tw4T9Nd/ViC2F/PSb68xctMWQZ9VhQqilbtm+DfQKhEmcvNUYJ2N/FTwQvGXiYSel0oMGARIenDl1pq6LfnP98aMOvubcsn2qgTz6l2fmSPjoeEE2X0AN8BHcJjTZAGVhsyIbzQJiEJidyXRC3b4vDzVUh1fheHa85KZ9gQ7e+BMmEirFAJX9U1ARBb8iAqcirVxRrDOCERUARX/42amuu8OlwQ4R989J9O+Z+C1Dx/VvavUxvARb12gvQ80RuSbOuhxStVQqW25IdEwLkPY0elecob0P8rkI+H0PAdbYGF6M49m4zmaeFT0sn9EuB4QIO9KG+0lmcqJMa9G6p9/OCElc9mYINGOet4YwzvWHmWftr+MVtRZZ3u21g5Zi5gwZLR8Yp3ClfAbnv+Xc7OyOwYu5PhwynH5iq0LpXyE7/w2Oh+5SUFcRyvXrAkvM5KlXAWnuhXLj1QBeHVk2RPo78WjGUZ8Ivl2pLqj+m24leo0gsJEb0RPSUU7RbMWHnRluY9SjJd5pPuD6o4BCXnXTmOmtoLp2qNb8/AOLBLcLYOvrlVIjsG6dI67SImVvPMks4t0I5PUadRFdb2vUkWHtg8M+JKnzGF/5PCsrdcY45ku7pSlKWNAAAQAK5Ne/g/JlXgFC7fAstS3XBzKLthP1NIwp1vZfTopuyEE8Ifw3bhXKt+7QE9ITuZC+uMk5+W1GCDJZLgt0XsGL5h6dLwbsQFYiw2JmiphFNxZHauAxLdmd9eEbdBbxUrEgQ2qUc+88jXcwLPWfiHNHATsHrPwydHIf+N5X7H2C6a07qGCYD7Ce2Rp99ASMYc69dbqhlTnJ6a+6w81naCvk7sMGFWGbj2krwE4f5EvXD3/3h/XpLm6Y7YZxPE05q1gf76Bhfv70NHYArlY+Im4d+ZHpQUx7XNB1U6elD58ry5IJNcx0L/WbTF2Lwmm+oVqfbVKF4qL495mznG2rlF6X2O1/VCrBz4v0xzQ56hBddUgxQ8V90EE0ewoySaCMhGfT54j7BTJXXEQnAvZwvOSPnX1XYRsdGtGPYJabgEtGrj6x3udq0zmDT0yktftFg4IFImn7k2iQHR/LreKMByJtAZF/ZXsXFzQYq7uDaWxi/EFBxXc/t/84F9niAApYuVYKS8PNuMq30aioYhUFMl6Vz4Vs75kgWrSu8AZhIPcdda1yBRSWbMZnWZiW9I+3p/9xLZ8LodiAuY8iMjNKoxUsOCSOt7xnj2aqaC1K0Hg+LEqklU77OBjDA4uoVv2ASLOW7lrXhVmsu7Z6ckmD/mR7dTxSTZqJ8VmijbOw8UNO7dDLJVSTZotcMrwCwQzDJ8CChScX7ZENK5dtu012xdqWMbsn+zVOlapmJ2pbhrRZ7haNqTwJ8sOFpeRMuTB6tM56T+BYqt+xcly3PPqQQtTV8DZOjA2asaIYKvTtGgzNeF+RKxHU7OVSW8yXzs5IdDyqKPGgXLP4wFaGdW6a1/EYm/6m4BYSxP4hWHNbLiXw4cLtlS0J2ytaM8qesTUR6HVEW1rUyjYP2UfGwRSnCvJcFhqLU+QpED/5kscHxwPCqmb4Afw11f0jBLMdJNJC1QKkFocFdSZGVRYukWCQnIOfSsHO/rQ0FC4DVS+UcuO3qoABGWC6wDCq5MxDssp5qb8g2NVO8TDURv66C/zs3HboKX6TAi2uJSQH6+nyiR/pLnbJE548L3lAQjuqOghTsSsvLTg3zyEu/Np9Euo5oWBWj1hhnAFH+VWTnEOgWR2bS6Xp5hiICfMkmBFzMgSMiNkCQw9EwZZfta5m6mNVsMRGOwtm9o4oohG6w9pc6a38NGKYrmXIJ9cBGv8sV2rM/Ev2ZhbEGR4dzG2W3YoTtikTFKMgr8ZZBCGOvaua3X9oK6HTbPr6Xb+69B0P/wPcasBM2BJkH8hsYvGQ+zLrbXfgjauhC6vpnFK9ci1J4gb9jTULlAkhlqHAHD93r/oGQ9nT9I84Ni3LgdNFWIm2v62suaFqTAmUMYrkjfv4NLikFzePPenaUMYZi/Ty1zZ401B9SL7lkTqtEHn5mF/qk2wynOIJCXS92BVwpaPt36yxRAXJMjGyC1TEp4QhBusRC7urLyiLiOYIY+DLNmbadROZU4g/Ai2hUpLcd3xUf/lg/X/ZB+jJwLv1gxpZddabjxn8SHuC105Xrn48PEpKx9RRoQ9/oaQaJ+gO5stD6/NvNSNSt70YGMQpW5obWdkvPtCzuq+/g05BsPDNr78KZd96OhLrExLAJGiTxBzkrrhhv4/mhDurJw/DYqO/kpwbSEUvMY2qnz4AXvGY7/y76pV2Syg2jXbXdWO0tp2yeJLknS/MlHRibdQM1aI+jf09h2acbLIuug+6gKZBHUNP3EWl1DxhH7U7R46vh+V7QNJqKa/MfOzSzA4uVZvpsVh163lNFDCkdIkMSqoNpAIHXtcn8s26ydBcDPNip8YFnJuF0SSwBxd+1LXebI+RAmZBHkKYcGHMjLG0kEhXjdRdlD5ZOnC8Y3ELszVh52h67pTxpR4s0JppZuUJBoWcgR4/PTB+3vx8t2YRE+367pof6wveOfnoaEWTn5G5CEJdicu4+FewnHJKUKZviD6/NvMN8nqNAs5+rZAEu6iJ6CVvNsVbOOgX83kTCzBmPGumep4KaCVfEqjdaLbfBlclnrRWRjHEI9B6U/+WIPhGn3BjABj4v8LzQ250+sCUkKjfQuC+AwqFHQH7JKE6UPy+6ehOl8hjgdRCcETA4qw7vc2tQwUDsbVcZm4jqvkDtudKsneoquTZLWUNN1AskH2ajG1B3v2stofROyMWFjC1pno17cVZkk50E2ws7atMBsLt7unxsFhEf2I0rnjj+/hE0FZGkHX/gRfw3JRtWslQetnkhVDV1lOkWlsQXbCIPGy+onPyiKzsLlmEmtp709H58VF7fJkjJ/KL6dumr4di7E651ME2XkmYPhf3PHMDJDrD9ceFilGHKZeLtJ7WyHsOpzSbGoBHt/zieifSRRfCv0gATvASZCCLXcj2I8cwCgc1Um8CO7QvLnLNJeiiEcULYggENmPbAVIxh8xKNMkobiO0dXf3auIqfy9MFfbUd8DqlpTPdtR9dt0VCCX8EMH+Oiiz/c2L/OixwQnuLsl0T2ZYBSBcyHpSZNG5o3Jzq9zgAx+KqIRdk9tXXcmc2VaOL8Q4Ro+odd5WokUTuhGIeuR2YGTwl7LvlDOq8H+P8eZr75WfPp93UNB1Q+dEJub1GXlJdUCVb0IOW7bsUgOJPYtlk4hPuB6l7xhh2JJxBy6x8zLuPBl4AM9TTQxbo6EN1MRvu5VUq7SxR5vlIgqRpJXF06fW379LCR5daLgofkataVgLCmTM3RDT0mSklAO2g7ZAUqh4aw3pODZ2tdL3rbXGKGJKTzr1BtWoZJlkrHv+e5MdVebo1hsbH+10E2ZIbkJjS7F2K4W85NX/kJzcx1Bs3GwT595YGFm8QvUJG2wmzwqzCyR0PZTYaznUVgauvS6Q5u9D71xXcZcYL5z2BPkobfS1eT+a7xc+HY/RW4k1PVn6YuR60Wb5mnpG/kaLS8KPzouhj+2ZMP/+KlHR5AmIUBu4CrDOO5foiKxbfrKpNY0DSNJW+2/cOl/zrPvba3ApGkx1UAPnSFukanyIHVKjJs8mbvkgJQ/hd7O6m+hNUqVp1YFMx/UGn2YshBMKMfFOiSjuze0BBYYBNoElAv8XfOHkHBcGQ3FNR5yBU80eDBFhG+2YfgJasCX/a+80l8gF1lcV237MbopsiNGvLFukm3PWtMnkE0AvWcVYYHSVXIA0aVEPtWHSAO0rAynw8j7k3Omh5o8aCjaSjvWwe1wmVKHJlMH33Q7ZzIn8ATtXFZ0ImbNtg5m+xvhblNm8jQHGeJqE0LsD5lftcHO44kSVkixtbFvtoAHdsL6LvpuC+8AdyQvK6k49ehECwpwzZicww6mstRUeAx/zgVid2dIC2tgxT1WdYDFyxf4k9ImesZXY7/zaIbwN5WqjGwUfgvNI2go2JIYSiBS3lHH6jBDKgG6izlaCB7QX72WPC9P3kJJV5Z57Uf3cs45dRpqcQkdTHjQbRMzcYbSQgDsq29eMJTGc3dGD8Ita+iiukL6a9nPEvKaIF7NSZZTSH1s2GFtzAnkC/D8hgD1lOFoY7f+kUZ6SEJJKZgsLHSdA8vsN/c3amrvoVpl4XvlcWv1zODizu97h5oECttmZ2UN5tcJ856kQPxH/hNaJ5nPoYg8WqEiiFAHs9Rzwq+lTrWlIbl9un/4mHHk3HOkeeq0G+LNAkhXQ4Crf9B46RjK+NlWBlGWbKXbqVcxVsL/xjZnItqGjQ3ypJAIf4Awi+UicAkst6qQVbbna8i6V0hrBGDEfACPtBWPVboCvX5kyMduqWFLvY6m4PCyp6zMw5wm9NsGl2dAEiHfk/xCgmN5NAi9O+vWJOYDwJP3Zn7Cc9f/d3CG33Yq3yaH89iAB5kCxG/5sXN+OKqgCXfa/NSZBSyjA3n5H/M0ftSgJ8odvANRtiQu9jx7xwb4Q+77PTHgEMw3rpdQdxVxxnO6GPQAUXuF4GwxdX9w4rJ3O4H2ffT7l8EGV2suQT8WEJ9Fb6aiKwNKfQ/+owhWK7IM/FzZ7tfrwpOWjSduijCcASrEaLMiH/uokT8uWLP0OY+PUlduKU1XboZMgfszKtAXZsdmiSnd7j7ZeqIQXSQ6/lnGyvYeeMMlqQih3HPwtkblvZeYzs5u374zSf0fU2N/N9FPXujdpKFHPN7JiWhDOVVqdyKyHHzWrQbe2c91JCi6kZMklfqgo07rYbESmuF6V6/rfHocaQzpkh2KToboGvZYBQPaVx8KOk4ZbiUp7apkhKzGHEBE4g4Zi9TsTGDsklaRkxHIi7p4l/ZuzL4sLwnFSVMhTjOJ4QR3Yd95ikuY0Asq+QoyQgT4USeK/Zhunjj5AOA+BgTC6j+Wu9/xaFk1qTzbZVzL6E6jlkuKaCi+VjKx/Y65UqUPzkBdvOWRIpyFzd9nTW620p33jiHeVNy1ha+WnOsg2sIuNJYD1zFenuVt/lalLL3ziogd1hhN5BnbeWgdlHHzbOqCdO92SwIHSLvHfun+VfAYBNsh05qwkj2hW/OQxKghzawPojADMGDrTBRbR6jKx2+YuXcGcelroCQ0Z7O7foysPUz2Xypy3eNi/MLWMlNBUNliy/dltnQQj9AT+AOKVr5d07ElqsNDYjtAeKg6QVrqORNVX0q22kBVBGZVLKGRogH6ZKIYCFW0cfey+G5g2gpxQ+s6xFuloNxNjihfISNvLQSxr3SNR890QBjXtjtOg0wIUE9qhufJhy8ngL0o13XzORl39/tHTqDqPz+QcHzhCJdAhC57IShbzl51qvCaG2zVrufXYSd/ylWj9QqDIrUuOpWPgMZbW6gYy8HVuWWKyEOg4U9CDqYfbuawhub35F0b/clmFU9g7Nf9iiExW7DmJk9hCT80OzAbfYu2iHK03Y7ZZeyuPceseZqaXvTdL6ug6UfKhD44sC8vFb1oPfjqYVHZhpE0vE+9HNfqkyyQTeLteN4VUBi58oEk7JGUX3RcynwoKMJZmSm9ygdr5svqnUGVvQuphKSlcj1KeRiH5juqYlW1o7ppB+a2EqIG57pIw9tEmbMdVDZQYEyZOLD/Hem4z7Csv+zk8EuLV3nfbVezH2DClOaMKkvTJCcc5HkvUTNlGJ8665iIuvefpB4mNhM12PQQbnjDW5uY823P4m1uhEq1p+pAhrDRARW3m1yR8pNnq2n3M1fROX8Z1QSehvsEtDt/M1QR0zA/e4dbn00xfIfvhEVL/50DdrHQsRbFbGaezwIs1HgqKLnLy40wXKJFWcIGNCXSvNNt3N1M5+7yU/D59CNuAp4YxBQ8dtLVJRddURRcpVNiLv7tprakL9Unkwq/QESnbigd8cneZvShC8vdEoaIVUFjs1dHFIpJE7mRBmtmpMasaau1DVMCXpPaLSNGcT6OtkwrJTrB3KEQdoLMrJ36I4fzUI/BOOy0NHS+DuAkYPud0u0SVyBhpbPbZW9oay/H40sfV7YzZ7sa+kJsmMSD5dTpCce9RJCWDP0izDlGMnGjP2G4S/jUFCioOfFjWmnJmTI6rNr/jl18cUTgcM0apCSji9Us9Tc37xt5vtkT2uUB8PAspgNy1l8bBjuLxQsCrg/kvZPbKfawxsmI8JyEmW2PgW6pffPy1zTfM/BSWLgqus6e/dIKtukir17GGotIvhkII+rrLFdOSbx8OQf6qbAjEo9WkO0E3QNNmXCAqGRa5svV3WKl8KVCKYwEa3W/J1SQcTUkh1tfzKE4tBmYIf1EfN7fs4A8u+kOmbdwu+348+VoI/H77jjXabsP6tsX1KFeTqf1Z9wNTfQw3ArD3kYv1zpUrkpZh0AS/t6YObL0C1+QNqO1KSpLlrQPZ8OPcugJvRJ0dHGKw+XQZbmcgBIg6SE7f/DRPA/Ob9LvWSTo+tvlUJ+cvk+E5hFWcxzz3oELL2ZaJMykoHEIU2knouTAqXC2ya33H4KlaLeHSY7RI3w4LPXj4/2U39sXm/kAcoemrJeIwFHd0YKuwFaeKik5yCoWZiNvC5hx31uaJMTh60zLnDZ0CWI4Jro4O6S60Ti9fStApLSPIQaZYsQwiblIVpMEDx8l/vpTOXsdIuuVdM0pnXzqih+BuC9OXWlOWgW03VgGF1pUfnM8QKomc2P4nl2/3aghm9GE5J0s4uBcvQkNAbctKZRu9fj+eI3ygl2RuT+5Sv+J4btFZscAL5XqU9Hcm8FZ95A1IFOKQ71XnV2Ond3AdlDW7cH5k4xoclQsg9DMvyBKDgdM8M1gS2DrDFYiXgAysM/oUrnxD7zlx6tNv6tsUrbkuo2qmIfquYf+HLRpgg3RrWU3539twI6mYQsnbWwE+T85EEJeq9igefdTxl4GtxVeUbolDu6LlbDEWY46aAZIqxLNTyPU+yiRPDvgyNMTwRVZndndilkz/baY7vVWWVTuM8egyImHqAOg/xjVW4Mv2I6r8kKaDOFZCKgMWrtkBP53agUrUWeHxRTfFXtQ/honuBcCwnKnICnuZX1Wz69E+JU4CRg8lFtQwAl6KxQ8619c2G4QyDjL//nASsWYf/k3jhXC8Pq4BGaOUUeVWklpbVRP9KsBEr0G1FC7ZZTTQcIv/i2mkqWgaQyj/M9sLSbjjHPbBmZIlzjs/eKy62cuBZxLGsobMRkxIJXRhXXS4KNEB4rqhdO5qBa1eEhNm7AHSua7UmYkgqXxL72fDNtdU6F/HlRpMaFxXtbJ2frKKjOa9UucdlM7c8xptxDJh2vDrE1tRTo/iEQOKoV1wYMeWIVfD2xNWIHSuyzVb+cRrPqzKiEmxPokbzKREn2Oogx2sL6qdI7mGeV2LOFnDe/dRtccE2LX/as8cUTCKC5ECXy9injTMOfMh4vUwv31SmGNYuCkMdT6VlQSDntCnM7r1LKfyOCGcNm+05qJed7SeK53UBUZyPRHN6lNrHs3rIm9DADcwBq8A8O2NlpjT79GO05Dw7k5UR0iSBRBsFIFooxgqLQuT5DgGCthh8njS2GsWr0sM+qi8++3KX1j+HrKLbOT3Avn91OFun9brGa5ZreCockFxmzw6+i1TcXLI6Y580uv36DI8skMJlP5NlE+FVr30U6iR/eqvn45y/+bDU6z7K5esXYdOaDj3vxJi0bHhghCMv4RjF650OaxnheE/zCx930jZ5n8FivGPpapvtVtNfXW7EvmRdcS/XnuYaQkcHG1J24Mgz5vkqOkEy1nk0c1azVmRA7BNpLEyvFCkYsEEBhjjVFCLn0Tk8rndOzrZyC+SQDeDNBVkmqdoLXdYw7b0pMnfKDIOxKXdok/zeGmben6wc1FXvIi43WhKj1PbqOjl78sm54AlzkQ5qmvo8Fh/GdReRZfJZX/S8CUtAKvOfHVgIVxmjxhoSOxZUdZhpQSzB9VhPS8svJKej5LVPUEWHSNtmvkdjMcRGwcMZ5SLqrHzSonKrM0Rt4uHJX+NeyxfmqR4SzlcXnWuDqqxezrY9ZBIIv4Xd5TnUwiUUFFuK8UIpyBItB8Jz2UAUr/VXfa3IUn98Lx0TocSNP9//KkGIbaHGF2I+eabWcoeDIPEC8hmpeR0eDaO2og4dNHcWt9bEMzlA23jgCQsNh7XUDFlvYmDrh8kYD8RT8QFOYEt7EWRjxCsO/+QE5aiXsaHKcxHiK1Tw8OJq5I0Xd6Sx26oqgO+MvAsbybNS4ss5N883OKo4VylU3NDud+h3VHqhMRCJ8sAe2qEQNjoxffPXX5VY67kt6Dkfygqr766Hs/hUp8wPlt1CSZoD8+oCva5U+i9HmkMMQi5DuTd4/52K5DGU76bfidlvM9VRTOrtCMGCKeoOx2nZffxp+/ptj3LPDtLXvpjcoDRzYqrZ7vEvze2hvpfgbB0b1loc1cOJYkJMrhaC+4mO/UXiXS7rZyjC3YRa0XtsXBNHFGZMgBRtTk5nlS8kCZfmuPClIF/rmfXQRO8X7gC+EHnRmBlXlP8PWxP0N2o9hCj1akCzSF4mcpFgZ+DOi0LRIOdTshelY22Diqo0g3AJ3od19DJk2uSH/c2jd1ujEZAOWry8mGmY5jazvhiorz1e1Cxu6grMgwmbdd0JqBI4ytOrZfpPYRVeeDem+B4YDDd+cK/Wq2SNjbIUjVJ60DD95JvfaiObYbC6u7FiXyVADWRsDf0aE47GQDbtjhHOTpJ/eljBk044c0mwpzfCeYhbA90sb9pxpl0DoiLYPCj/n1BY3TRSWA1YGvtYmfLMgPZyFAeiiaWC5OjBlgoDkNdskulz1gQaL+YsUuQoQRBbcKa2MS5qibxVs5MipDomtOVapda4T9Vi+wBylG+UA1+Alwl6DhyLlh8HvT7oZv+2fOSMZCtP8oxUudhXhelROfQRVqYwIw8GwjJYcY18oweFEZ6iq7Pm0qoutU7CE00jF3jtgBAx+KsUa/Dx7RoKAGt6ru7ZMy1rErIYIl7/5HMogiT3EByfIRFQaivWoCz4B/sbyJQeg7w0yragEg4ZMFPlJCA8IC4hinpgRbF+lEpfky+eqaym7uviIYP/JmSHqnHgp27NktLnemc6RmzDgEn//LjnVplNWDpUbhS95OUrhf6xucPNe1uO6x7vrqqnBWvxYO2ELF/81gwtsNjxxi59vgE3vAoRcTeKbnvgx9WsIcU3DQnzsDV4DSsDLXSlGjpy5U1sbA0KbfgkpC+pr2OA7OT5RGcSdA0Qmqxe+6IVWQCPydw1NCHxbj6HGYzXyBMi5JNmagIlbXzI8wARaQkUxlsYwmx+fNEDCbRyqAtIBWf4qWI+pswG7QSCAhMlfsbUOdxVrKZPV/FQL1dS8/XNrBK1b3xF5qt6j6+4y6WEiuBttHKKON9Je6IoaQbN7U5en9t9NvdRNiNr8ZZ6/MH1eICZiD5xSavrZ3fqlRsHRCXsVCvJLZFWlGCRWLAWHVNv3S7qgOL4BIQ5w74HLlD4MZWYSksoWII4zUqbU0TKxoCc49dONfONvuNckBOquKQ8tUHEc6ylcnzZy+9NkPIXVjg8KmHH0XNUptwAjilOaQZBrYwwGaJObUpnaS6yIZzSh23gW9XWITFLMO2PVs6fgSC+NzIQkr9GhEyexqGTkhdEtPdqrC6Xu87U36XJ6z92A0fZuQ/6aSMk3zkRCV0UA4kKCqumc5eerHVeNw2GaE1qBqqg1iALvRpsbGcKGA7I4aaotsSlqngLGqE7SZxh/Ww6DRFYCsTUms9hKNOxN80QCvk8feS/5fniPNMMVqZO2jr2wiR1Hxo21xJo3KLdM0h7XIngnEt4g+mnP4x/7Bbs7MhcAk7l1UheFcJkwSOleC6LdH506wjFru90+aMP7Kd47pELZTxhYyp6wvVDL6bP1efYZcjQjE4zn0HfK4FrKkwujGItbOTpCerqHYZNG8WgwcodIpZyFXsz+5pbGSgHHBd5hPh/kd7luSSEckgTUx16PpoGMsg/BuZ+c3AcuUFiH/f/V8ikFsGClXI5mp8QQovzxr/lMzEz4BG84C/TRC9GkjhkStETSsOrSaOlcf7wB2UnBHYhdAXQValFEtrq7/vDZJTamKeSmsOQS17S1Hcx0QqLBzH2borCwepo3AuwKtygFCkTkmHWY8QY2KJZReuNC2+D9kZLQi00T1okEpt/Alu42KSEt0YYyrpE9c6HNTWSd7RVSD7IhNl9HcCEzk/qhQl+EKSRHDCD4/OBZzF20R+NzrWRHvHl4+ZvmPtEqAMN4MpYSeNu9Z9K54nMGKsi8PqrLSqCA4Jv3WNayuWziPi7DaQUiSv8FdBNiPKECwLdXq57/iT6ubjTXh1jIZUCG2UcryjGc5uy5pFeP2LaAWSdI6ht9drJQNNiEd14kbQsHNxEA92xi04Zc/oD2E/s6tgbFHDHUo82YQn4N0HzSAzaYkqd9V3HksX6ErS9Tszf2YiGZ4vwG5uhb7VpP4Qd3n2y6FFeMZfUTt45pciX246Gsz/9mc1ezfVgKC7QjfYqc7ByGP4nMi2MCe6Ua2iZXntSFGbu3Yh2Mo508wnXCwkuVJxMAsZWc0NrBvbGVQYIgCV6RLamJu2QfpIDVlVxZkq/+GHi5It+/zxlwa1hrendfaEY9jpxHuqgxFZAD3CHCVsZnUeSKtW/d5ONTzQfzDUVulRIzSed1v1CBtw87cmqqfLfS3usEbZY9fIkKz7//MybQxtY26sjeVvsMLMikUE4PCe5UzkSGKCTzsVBygiIWb3YKKxV2QeOkCqCGI/V2yI2Bk1k68GFm4dB1rl2qpEkJUsmsnXVL/aBM4zEduQho1U7rUWWCSFDd14/ppHtu9d2HLO/QOTOfi3exUUJ+EfVAi98iCZzTGJNMxGhkak8INM/gdJZKOl4UEZlaETs+7kvp7n1AZ3exNOmAzvlEhpjfM0UwxLYb68QBabXj9jJjNGfiETdC1+aDLol3ZzmWtg9uwTXYEFAkUPGy3DG1Icf3p3cDJqCrBr67dalN6mHIQvX1ngrbTROVEwwpC7ZDDukIye3NOg6GIR9Bdsc+yFpz6dXfff3CovER1dZMwPmTav7T1AayC652B1DRiVjYnDJ7G1/JBl563GqW+tlgG1QQo11dNXBqGH7pFYOxt53ab6KM2HGkWjsPtlk7bLtgCUMJtuWQmMcDT6d1dv9n/oXNkr9QcczdIF+H4vJTX0av4+bDK+0B5EI3VHXQyzD10aclX+23Yi3js4/pzeovhZaGjC9SQIDkVTg1cXkz8Ac2jf/66t2QUU+G8TKNX7I6p3YCQo+PZcgzP9gw8qofcj11iOHK/8nYSZRvBf0FkbMkTXp8z066kiP3Kgj/ndCKrWJ6GhXVWH9kxMY9ye7mx0Sfv0bxzxesniK9/zBZOzIt5q8V1lqmqrVydY5yJe9xet8KmqiLhGBG7oRayhp2MhLg2RVtmDDO3q6OauExfWulKAyL44RA+FIybcwYGHcJLeC7unhz5Ij9hmkmV+AvGFigLlZ9eyHH8QFWTrw7hMeyIhuSfBIFGmIj2CyzachTuFBak/lhKjZZrgfBxjChGoeCh+LyXLOg5NHBwv65ZOC7X2h5ru3IOTv3At6Vp92dxi0FXGSq/krzlwHAMUmSKUtbPuMzIPVunYPS11nnKOz/k6eV7hFaNGDVIz1Yrbf4mLaQDWfJ4qU6igc53veo8gazAtU89B3IdowN5U+EZSxBBV1X6iXACeCWaU7OrJ4svifUMvHYZxxPXoSCrt71QnMJLcgGT3+y7fwc8ZEQ/LjjN02WuVEmP4X9Kg/YKdb4Fo6gw9aGpJlk+O+Ct8Xx+7ssr/8O/sTGfSL755zfCDeey4NuEiggaMkw/qDwX82Qq3d3dEDVlTQFthAzQNCl2MyD62jaU37WosSQ5KLbsXsAEb7X/3uy9ovg1mkVNAaImMArg6CCHUCvPH3GdtR28ZYe8Xnbk7mBs9+WoBPQKc1hO5hJI/gtl9NzE9wlTE7EAoJkEP8+50DH/Q4SUgdtIxa2H1OttadhS1jaBLHCJRK5mTQOY9lSZgFAYeScjltYnfy+o0wIjnnV/ddjGVE3yVlTnn7TAPS2sO4OgwqL7BZmrqsexx5CspUKI7D2av3yX7opdqWKhxKGZyAR2wbnMWO5OuOvYmmha/oF0ijWLOJ05kdxd24uJaJVzzuzRc16JXBDEbgnHXzCa5SSgOFMuWnDyU7KREjm3RjVv1EhEISfukhgy+YR1/iPJIFh7Rci7v0Hh3BtHgDCxFH2y3Lyd8ztt3jybNe+8ESsLawArIWTcyN45xbMvkV0jZyjSYfJVPcpqxOOUqsPtut7x++MJJRSsaHi3l7j0D8fCsd+x0q2wdNpD+MVXUa4KRsinYzoL23SNvWv9faMQEKvNY8uSwqSVD7TueLpn7DwxSQInqRuNSeK2vNh6XW/767tSWgPKQ2xPHoujKXvVcFR3iQczv0NUDU53jWwLCT4P3j3Lf/vdQK4urx6+FfxU2fAGxkN+v32jxwZYUmovY+Z7bK+x627xBAUOEbHf9MlnCAjsfr5A+7a70Zetjl02Tm+/RAJPJQsCjdZcOPgnIDzauk3XKxtPR/bSbLTmpttTspQKxC7alo/h7RxxAtYN9upS/DyC3lpfxd3256hR0LXiXAzHML3c3mSVqtOI4hfHCiACtxGbNkHSEyNlRfn3ItNBYmdF6SSrsECQNUiEhCmzYqqTNDFdtqTEuuaeZeaM29X1Odt7nQvJEizuRdqVoYAdkcVJdazjB/WHDoy8mJTg7F9CaSU5+tGplRRox4sU6Df1OLGnbmxPqsmNN3JQ0WrQC4Fp2loXkTq7Nq6CQKWNHx9GmzzATFWFXc10Qn1RkExLHtpYNOvTEtRsA5Kv6iLKq4oKlFZetI+a0qiZCqvYi1sfh3L49bJc3r8bOYdLgxFCGxC0b+9YZSMR+DeqYrIG8lv8JQnPuahmA/duki8fpicZrAh/8k9bFKnxFL80i9w/xRWX+cD7vDZTxalm9MISZnCdpFfftXE0rF0HHe/j6qotF54p0piY8fWh1dTzW4RX7luuzvfXpunLSShpZJp2Ku6vqfJmqK1GaaQ9gWWtO8f/JOIAMFxioy1GEsLgbt7UKMc2ieEpycdPra6yBDaHWTNBJld9uSmV69wH9bsv8H/uyhmsCxYQ/HInmLAvq9Wr0CtPTIBNIAx+TIxyasH2l7vW1aRq2GLtpGvuDV5rmVmlb0lMqDf5GadU2wfMTEaeMjLhNkLYOI2Yiqfr/KYeZSoBwwqM9f2IH9f6MmSs9sZhh0Rh7od/LIEcFpJiFyxrUkGzeLEZ65CM9sbBn+dVGqfpcSrXBLfD7gi75ZPgZFJuU5R4/iQhr1fEiDuM7HWi0rsKVU7Kh27u9IoT6epX9FhJe3NzzKlSSwrx4m6zhuJMEQV2Sz9IwvtGBiBNkIQNo5ikTfxa9tBNs16V9fqIRKocIND/gKxPmeiFPA1aCWpkStr8LDi81Q493Sl+sDFZ11QclU5uwKJs/6EOJrPmrtUzMR5ucEQPlSIsoqLLbzpLgC8YAkxW04ye8qkg6Q4pBLiqZyCex+rdXj06pm1SA+la+qawqLl/ibn1dkmeuTbUleMojh8k2CxUeN42VQDVyi38NMw5BgTu7HnQfHxx4MItciXzWgtP83UzJh5X38BTIMQaH74yMQwGMGRy9HkWG3NHDa3Y+WUZ7PZxGG4oZKzIwjB1zdnQvkMQcVLLNgDZnD3m1FirqWOEHgzSI60lrtY0eWJbrolZj1ggx08u6jW1dCc4S0udGLB+uI/mNqeAFVV6TKsWpS0MZmN4hGVb2/KW1wiOqEFWbgvvI0oGQpuKWVx7A6IDffbV4yuGqNRZuyiyczVB16x7t5bsn5+XWAYJHNA2IafCStBVlQW7uLROHQAr/g0hz+XXK+8nOikbJZamX0RHors97/cQWof9/Po4pfC3UEu4bdCYWFLpeZjDQCqtZnk3bC1IJD9UevO0vJbVEN5DI0SOtYoa7mvl5kdywuN06rq+E5cd28oXWA6Xv0ABfuDIsbaLeFN3O/0N6v3GNISG+S1Yua0k8sXQqMaZO/UdHWTyaAvf4nnEWEGTnVpJT4GCJIj0MySYG4jMyIQ4ogWBrXSDisFDYtuspjfYfwRDeluZ+rj8tDlttgyTZNgSi3bDaFZ9VB7AFKubC0YBJjmQ6Rij3c37nZG5lKMhsxK7KiqeELT3UoyIkYQqDaF3KAALvc+w9NO6G51Qjej4vU1hYbkLw9k5//2zCCI4UsMTqj0YAvsb2UYj3M9fhNi2BzACTqi5qbqLMvFP13iDcoKgCc6JYkNLdTH7TS0SLxhGSJO2ZC6aEq5v7bPo4Pjw7nl9/2hI5lp0ZtYfZlRq+HNl6jzEOSsJkA+UiYmKCCTmX4oxV4XTKaOLo7ZjcYmqJCK/tivThOgT8QeB+7lKfL/zU1c/qxRpfIwippOJ0p0F8jW3I8wxsRw4qMccl46QFMY3JtWMiPuyPzveqhMOeFM3fieLM7Kh6a6QsZFVAHvzlnb5loqTyTgTeRgVJOTj4LNkIFCnM3GTANOT7ofuFPmvuYC0Ht30vyxTlSDQSpTuSH2vjDjFlw3dU9IJoTuY4AgPd3Sfzi1fL8NUwA3QmymoVTPQMHbNwBt1qu5JkOFUrIPAnWEjhMjV4qLEfeMPbCsO5CLsqoe9Le0sdtqI0ru63LuNsK3cUxQ9qBOlhb5V4Nm2gooxdNG6vmZiCvFztOSVPI8OWfGJnrcsv2CMh2l6175Z0QI2c5bShaEiqh6dUFHw7fB5FeawZWW1ghAIBvpbMh7kxY6PzvXL7dJ+L77SdFM/7AzjjhfpmnHVyfRpnt3EAN5gbTaXR0s7KX+A1AcPKrmbeqf+2Nx1EczBX0J+kEwakMGq3lEgcrv7AU0dWyicCSt9R9MZuCkd38W35W6cvumatV7It9f9iPMsoAtdRgpyQ/0jY47FdxfV7ryK87yXBXFk/n7W/vaWKgPIeSUtUdCpCeJOA5K7XwTJN0jHjQPQNkORftOPqEgH3EGwxcBDlSzTsHDTAJnS8JHlAI5WtpbXkBS+TyszHgefPAZqRezli3/adHbxKvMD8Vgi6JMEhDt1uXYwJVY1kgnjSDnlfcyg1Qt1H7vjvVXJVSngu+wsPJM8+Sim+k60HTL4aKPOQA88mzMJDQDIQzzCagSzVXTJkrejVppcDLqgYXrkX/TICwF0kv+rWv4vlQZd9AE0lzqcAqb2f44AZPcoIjH+a8j3aVQC+V5cizE9vVXUPryrZXkVg+N7UcoRnOV4Y044zJ3xAWg2zn1oYDRvYEmGSVWO/BPtL1JCpGdZe1Q2BVNnhNsKnsBl+gzSjQV9R5iwDnvCoVo7Ra29Mt3il4MhRuuckwMm1ThBo/R5fCTwGjFx/M9Qle9ic+sdAx4FFb6VI+htAzAmdbsR+o7H5oqrhJ1TAM9Et5uVdTLgANmWXRsaFdvXG9QVcYvFXEk1m2A2qwlWLsXgCuJWqGT51yZymXyPG1xymPDMt7Fx7/uas6DGCmTk+T7O2zaqulHg2hCvSQpSOPSRoejRVuYYhiIUphdwCaoxh96D6f53RED9Sv0F2Kgva9TXJiICyjVp8EgKxT8199OdyVNXavD5AdDm1xH8lWdjr8ApzLc4rGoAHkE7ZmFrz14D0+6X/QpT16LDa55MR4xR4Ncr+SlpyOgDF1eUAMPugwjgyeofk7otHlIXmQ+hvDtI5R7ufAa+hO6NMRWosh0LMcPpt31qu49rsK5EhV/ADS/SailOV9p4aACUafLmEfLdIwGyFWqg0peO2mwSFXWd79OBv6F+QmsfYltl+DNzn1MHwFzJFX5+KbicYZjl6HYp/bqRxWLoEsCrEdrThg7deLVk46JGJtmXRdrBYisGPrPYPvu3/55ieNWWov0he4UOwoCK0LXNMbzSPexvjITVB8n9sllzWRaNifXjTg9p34rS6k5y0Ka2ulsYNCoPZkeyDSPUq8MLd/3N0oiNMD4thsGwQmdiIwbWO/jFKQrMTfSvsWSTOkm322QPzq2OT9++3Ulir0/GKik2uIwanDfS747omqqXO971LatAixBD+RFfNnTj0IQ3NQ38/cKp6IjMdLT3tXKoYQbFX2NZtySN9J1Ssu7Xan0v6hfJ0npzjKBtXfS4VOvXXxYl5TWOxEylguWYhy0nHvco9gwO7Vd7LmE9AtzvfNntCHCYz3RR/Lq9gbxRmkK5Tj+HxhfLSYcKSUIy3wiJG+bv/Q+UveY1qu5n3pytMAKlhG2+g4MzN+ck/soguvbHN+cQH4T+YErTZ7CvN4SG1840fdnoBkL8FWnmB52BWSoR17o4Lukvl+9mpMpqEErSbpGadN1Ywsq4ywHenWLNYiZpydsbsmV/mkPw2vXIrJkkmfVkXUGah2ZU/G5f9Zu9Vw8c+QHAsOE+wxcr6khBgGf19q8Ip8tllbZJWasLV2LcQaFNKIYMFwRHNLOGoay9vb/hTJ9+JWXaEjOLT5+QUEBsFsppxpGI4Ch2h70qvTdGN/HbjjDP7IMdULk5vuIiWubSVq5U81VqiTmY2zCeVH/2rG/gZ6/VJtBf5EIgwKEW3n6fGoRhBre+Z+pSk/0TYvmoJyZ6J9WV6dD6jquKe+hxJqcPo2KRFr881SD7ygdcCgC0qvFTqF/6pS/OSZz1haNYZpIJAyLZORj9PydVvPumNkoUK8j4XWGvrJ+eXUCh/KBMZXxrvOVKVH32a+qDTQ086K8YXqsnQPlzg5wWuiM33pGFgLXOC0VtqjfQeV/sGAqd53xLOj6z3+0xz3EoeVPQu0TNksN2GcphAtLEqYx+V2izksmrutKNV18OJxO6HIkY29NiMZkCeXxI0XYfnV1aF+k2zJVE2+sIEfS0F76/IBw8G9snVtyX+mzUvF0gJx53d9rUP5oDQTFfouObSUBdnLo7ohPVgHyQIgcyHLtn0ZIxirQMAtEpBLALb6SA343G9JiYIGPFhnRZ3s5di0k7NWBj23rUjZB0eDTQJySc4P/KphteG66r6JuUUZm9nCM4Z5RmMXhArUsorE+V0kned1Ce6mqhQfYUqnGqx/jX+fKsuz7p6q87/QjOlnnyrslHKSwFNiE0Vr3hVQXl1FDu6tg+aRGK4XO727tKFSto+8/6NFcyWTK3gHHxgWjZsC9cQQe1o0qf3LClw6vezrk/bDsDgWgc+8WRJTroAj3AkupwIyn7//ge96Jdt5TGqExOl3nzzyYURTfqqERFDDALkptPFxDtepSq9nyupBVfcIDK2ltSRn9czpFfzratl9Vc3YU5s6/l7CE4avZJiot5kDh3DvbWAEPC8qHId81a1rpZOdFjHb5qf9Vq9Av4eo7unsiGtyGlVw+/mtqLLtI+G9BpvOdcXlBPCa9xatGsVBUa9b5SZLhwU+2V+sXU74sB4vOPGidqIjqQVObD1iySKO+QJ6g+hxRthmGCSm9hcXQLWAcR6U88usbb87gxjQtTR666KSbhk6rE8gQ+rUK5sQk3qUhKrt45KKGRGM2Z0jr0eEYZTUHE49VIagClfMopLQ5gO2WE0Ico43l+iiTb2UEuCGD7N4nqI/1/4Px7FKphNpRMbW6HuerpYqzPkt7Ac/2V8jJ9vyQBG4eMJRw2VN/pipO8Q6eh1+9uaOhH4ou3ZJ9zRhzpoGGMVltJBzKTRQPXnL3HJy/3cTc19VHZ3Jk7xwxopSkQtllKo0FqY4OUO2vR+7yOBnE0HCLA8hmWcK4JiPE6OwTMuyLHW6GxnCSIM30ps9H7+t+PFlxZDpXPJAVOC9ipMOVB6XAJGowzYRZFne7Zz8B8QeRvQ9UzyCIsjiJtRkJKdjZvuB2ZOQg7DIiACsRKXnOKlawpbT9F6UELu2mg3smKAeUMy1WxP0g+9AE0Y1oHtK2cTlVa+kbuVIGzczSRJiYe/Jwi9CUJicbSlNGSUFHcMGrPKn6/zOT6eUH2pShvY/GmjVFZn92RebY+2PxmMFybXSf+q5thC/y3/p7w9+vbJI5EOjSVxTNv1oAGLkgvJUw6ZnNXS2biffGhjM78VNb6MrhQUE2PX1lKL8HcimRE2GYuB6cfNDD2wd6fu+WBwb3g2Hh8x4qLC0L7E2RQ6z7F6kWN8K1+XUXtMTGHFXdnSOGO0p0J3IevHIi7jV8KHc5CSsqXpkKl5I8tNfQuDymHmkQ/WN/QXzKQEGnkaxDjIN+ume8aYfubvPEEfJp4fGMs6JMaW1WvnE679ajCRLws8AEkN7ASPb2Yr7o+gdgZnokw/a6IQurRQCzVVr5Q9XkCig8z4CHWqM7c4AwfVEhxnj603UMD1+zauZYmZE8eRYHnmXIywHfSbMBXblY3SH4Zf0NW4/m9rb6WsAEXP37TFoli8cm2Vqr/2J/Ud1naY4l8wuNUEXVZ4mGjnbGdvfbntirO7/3nkTUNC5acBTV0HCLRBc75lTC+xyudmEmJtH0my66mkYZcQ9zW+sURKqS7SvFLcYs7lIUu3++Fg62MFUyKCpkL+W+VPXTKQQGry0REeF3iKzbhh/cgrLgm/xc39L6RUd6T/jJDfyi4/fYXzLoAxPizw5pJ7oN1YOjwxeNAXnp23/0HaW//4wm60wHqMUcrwoaS+NT4ELB9DEaCr7xR/FAjFVNpflsrRQdNx2JqOL3/AoR/ydRsbJiTmAr/bcdczHehutL762mrvXZemk91Qv4rNMEXAQMN6dnbCj0H1LsQz+aJzE8GQwFT04B/KWO1KqN1Q00pyGcsjFskISOYg93n0etBhsS1nWVUk0qSoyXM3gUuOdpnbQyVaCbYSEhAnj8+OO9//YE1M54ryKjHarqx39r1j4tZNR5whO8kN/+L1pJh7plCFc6amo3ObNutyUvoCpLr87SwiIly3HPQ4gqfmNIWUx+Qo8AsjeNHZs/tNdb8T/s/pLKu7oVOtY4dQfFpynChFC4wqkmzAFp7Khu5UbAgbbC4Pl/pGwxt1yK5VamywQeZ0zxBIPenjB2uR3Hy2MRKEGaOif6w7R6iwx3v+LatE4IAe+SKddCSuM6b7gy5g50Bu8WuGBHBzCCXiYAGI6aM2Y3VC+8bqdDSwzXKK3B3ouedv1xn20p6FUA3Ran67L2AR/S/rzd3Z6QRJNj+Oh7cE4GjxavGzyZ0s3L67Lovj9mNKqgrx0g8wc2OrwNGlxPOqpX2cP2nOrGq7ZBIr/hMAlIqk+uPP4St5J5Lkiu4b7jszwh4IXVezFMykvTLqk+emMIhhN7GMPCKoIn6x1+bJXLugoWYrC6OKka69kSU5/pqlLeKiFaCxKEqVHnJ2l+o7Elu1nEhUnUGm8Nltmc5XI/mMFdxTT5kmBpEAV0DIW9xWE7xlexLjeN9dlBO6V5nYjrdA8aaEoR65CsAbmDPi2ZOu7CuUK55xSXbbdWq2TCkA4hUEw7VBx3taMiDwhmeS0/p2aEEI6PWx+PLf3CWWYj5irW3Zugv9h4/YVBriuREKFAJzZPw8FvYdXqImp/eDAxtHIwoltyErdQnWXvSC93n1C4JliR0MxqarnsUAFk/hbpaJcAjgQdOL0PWJnO7gNq7OAsKLNwNBwoRM1rd+vVcScxli5doHaZuptvwy8dJ0UQ7D/1YIwOW5wQW6CC6emfcR54S4g9B1Y4EHO1Qacl/4q3Xr08H+hV111rX6vs8F96j8MkZzO11/GLWYd4olz36aZo7emJd0Rc8/Olu20speXV0CztNw5hK+GjGIpL8CmpfRlcI0d3bZf8BC9W/UUfvFp3mzZRq1HoOLv+d3qAo/nqRPVjDQqspvcSZevFoNosFM4fCZmDdZuLUE6M+8r77FZFQVPqxoFI2J0SkXQfsazWUKDYdLRWsY5QgEpLWp4SOzXK3j7tWyrqdgn2vsu4HqjgalnS7VbYexLkCCO3Z11dVgMjDNwVoo9CAfrU04lh05oPSOwkD4tD8UuhkfJT6Ya6+Q61lv9UHofbmoffIRLu4lQWDlDOCMwV7HKFz6HBkPrNhY7yGXesS/iao+xKxSgHrRJpr8EPWzbrBmNDFsdg//GeXCDz/Nb0wQB9s6aWzg3TG0qmKFHqfXxGP19kA8iIMNa7WNWdB7bvK/4veE6it7e8p8GP723o9O21OYus4SEPAC+9ckXpvcG6hEuDRDV8aBBRNCbp8TKWt/hpuMFzrh1msx6ONSjpdMAGdCbXt9NevtgprgM65JggAv21MEKMTBBlpnjD9wcJF3CqF0WpZrARSTQ9e9w602GsRg4kvUBUDe4Gg33GifUN7f9g1lIilQmQOmfu5UiP9VqX+Mwiy8RZD8TdezU72rT6+J9BdwB6mASL4a7cieEfHJ4LJQFfdMKM/Ym3ZpTLTIw5qyHmAjg34QKBf/U7LaKQUGh18h2C3rmTQrrIvqGuwCrcNVpjN+GpVKPfLFxUxUlc6cPSIU8IABnfWBmFf8JkbhZ72Nf5rOCj3CR7MI9Wqn9kwuxxuSW2Dhayk8OP1WzsGgiwnDUO14ZlphAGvXukX6II9KuvokqM4O83O8no5VdXCyxJ2E/KUPcSOr1n0yO7YeLDFahNyO2vPn5+K7VGrx8brLUQva//WNAYa6x2K0R3ATQZl4lO/BahO49R4CpAHxq7gzxeEL6BKhvwJAlmr0/I2dy8Ip8drb1EPxZJAhrp9dxpjQQ47MW+cV70gToodhz0UIoiMbs7e7fMFebcJNwYLcML0ZTeL8bgxW+FNaOZIwKz/Wx30m3mPtFvrd0cpXYEPHHxy5/iyt7k5f3seAPeT7wYDWMJ9RpSTWzvaY4f7I3IMt5zxXbAs/ip6gIkXG9JzYVvI0zZxAT3ph2xwKVg4fT8e5PkAiBpmoDhzRarCiiZLySlzl2K1ha/r0rgj1V2PyC7VBlIZuE1LdqFM/I4DzD5npYuHldwQ/7QJu8yG/Y/Rg1CBou5raovyHONeLRRkEEt2pgkhcg7FtV8f2VS+6drEQBTGD9JQnDw+FucfmSCmr8hjS7BRoB7hd+kA1/X8hjUTvZ7lzAa2ts5kx7ow3FLKVTVZXb5frDRdK4pTUtg3BGEQwQmae4lVbG5FaWepyjf5ZxuFTHawo7+XPW79ulCK2v0jbSMJdlZxliI4hDrKiDmtSTFHz8UL9hZFTGo3JYx/e6Jv7H8Dgb1lKbIALGCivwOcCcwZWAsJM5gKwoELahz7J2Z94iKOlXR0JyWqzwYn+ABw0FIjsiY1Fk46uvpZJrFik+19QPH0uq0P9INGL5lczgsNBC+6RPhhj5mb7HXbpo/A12cJ3vhCcc7CTpiKpDoBkGQCfsDVZPmin2GqvGCJpiqHReqKLrf1W27/ieGUwgcfDdcStzQyKFYjvSFDzfLD2UUssMzDtKj+2QpqHCU/1n6XQQ8zreB4OvN/SHoPs7yLTVd5Xy4G0L1BPtZ0/fphZ8t+AMjyxfr7AMehoEaxaWTRNwjP60fOrYh8S8/e/w/hf2mVz7zjoiJkJoADgrZEHBSpkKkmXhPIJnDz1bK1bWz2ALXH8mB6DKhBWMyR20/VnxFmImxvn8zg2lUhrEtgVY+kHhhOk3QJuUBQt5DrlZQjLbzdL/3+7LqsMHsAt0JsWjFDnM5KyTgO2ykfckVTZWa+6RhcE58xMT0HTOgIbNZqFWOt3JSLVOo9dwmUUwKbZSQlWZ0WsRMfdYndBPuJWRoz0iRpJhZY4A0CGsc2oLg480zVsRNLyyv89QQV8PN/xwSoqRaQmLaBNtjiMKh0IXbq63NYxtCKjnux7ksxV6L0ZTYgOF/CQh5UNN62xg9sto+AdCld+CM3+/4jTlG01WD19Sr0Cgg07RQ/KWKF/90rpgJMnjPiXujCwD4f4ct5AJexWxw09Hjsvg9rmXvcXnT9wxodaH3YnYffIJH7bZylQVDvP3EDYV/EyxfI3eNTM3L4xzdWD3cI9T0sf/CDYgdeHrwtKLly23V1iwYi3igpDzfHe8VJcKRflPobZVupWolfWb4uWfCU3dw5ih4Ei5bMeWXbvHVuJnnpWZyPEigibro0lNhkGeTF42qL4c5+umqhRFq+w06w0p6o56dWCb82tmco0dJKGojLTKMF9k8h4CNz39YO47VwLUlroUEqQmlqNyGpaV23fJjRNKozrf+zOYK6komRSQsl2BcCCt4kfGXY9wFDiCBVgghHDInBpVBTQNTpTzEQlqweiJ4r6E8opa6S1Yy3rzUYo3qXAuR0r0u5TeTHO1djQ2xxnbQqVcvaYcCHazqjotBGAPLzxZmFvXjdDbt4ey3tcma679EB8vNIfI+TNSOowDKvyIUt+qLbqKcvvP2DbmOWJP6fzRBaaBSZ3sUYCLGLZjQvbE89PubxOeumnenRuZtdBjJJzsVQ+psb8oZAbw4Zu7GAmblwOIpfvQRj896ln67ED7S3uFRweALEdejo6jMkgcmndiJNg+B1jc4agf0XDV2wpZb2f88JbfUe7cccnJg78es0DUIqdF52A2XZhnZtR9SHYHUwS1yllQ0sDBu60VAd+B4TmZEEPSxIpboLcwIBBLU7whRu5scyv1MnSvwEkm/KYEn1XrrK9yKI3bCBPNJ4cud42pMTD2dXVqlDtRe0FdqxoXfIur0H058Ewn0cnIwg23IIs3dulBBzd4BlTAf0fumWMX+BBjKVtJmDXM4yongdE7ZGJLZP90TO8H2BJhnsg0O1fg8Dk4Gg5fMMymXHUjGnEbXaSI/hcu+TtXCJCHvA9LvIX+P1CQd+3aiBxhUsSHXoG1plEfr5c09D9BKhk9LqiXL+FpSf8DogVIYdetNuy7uKzovPn+iRc5yzNcOKhNwic3lBbUGc9PSQ2aW89KRd6ROei4fmNiblyRb7wV1SYoeKfyTD/mjTL+wK+BrgwT96zYtG+ZyBWJ4+yySTXTs+vL/sLJwS5qXAOQI6gGb/+j2NDYLq8Fmuwt2mUfokKqT3LAa62wiej6i1EVGK1R7EnbNAanVTdOX3TSjzshSR/E0oCHW1FY2164Tah0gyQqriJzU9YY7NtoiELcQJioI/5dkZ8t/asv/WJV7ieIHq/yHjUCVel4pMEl4rNIghFgdW6DjKzwgusHzTplk0J0HJzSAsO+fYZdbAswlorel/u/O5XrAfd0VQwVPFk7IlaEeg4JPNmm53Puz4Zdjxw26yX7oc1cgSZWCjPLxZrNRtFH2IXdxoCAyoPXgVowIdJ8S0BC/x5ky3crUaGsmxEkIv5vICifCAVTEglEf9XrGhM7HuGs/vgEtP1tvdDlIEQPdX0Rqw/9XdNqu/a65GCueScmsdupS/LM5+hJZeeqsbVX7vpQeIf3bkkdt1Cth5LrSucg4x3/CbK/8vwdcllArdhyF6INyrJcWtkoBv2JSUnGa4j2zPPfu0bc5SfdB/OrWqYNGV2IcNouTuxbDOAjCFim4wIHZN8BMp+TIQc/eWFpe0K96gZNuD3n04ZHjLC8KB0BU4LIfSxj+JqojMjpImk/VeHb1FspzAh/t1oHuMvRegUMNyDK8UcLothBgQR+qHF8YgpW2J/Zwl/mzbwBBzIdr2oRyWvba9A1RcLTYBpaCEehzrZYdXhSCcECs8f+yEpC6sYjIwLDoe5dRqMfjsij6jIePK91O9k7HeIFejUy9YgzYVwtiko4juVX+JqBzfnNnJUyYeJ6Q6Xp2WHNraya1DocZpVgAuXZ9tabP5zxsHCE3e4uiTzLkwZRIln2Na28QoGCEEvv6d2Q91FmPggCVb5SZrA5rY+zRG3kvT2GaZZHZ3WK77UK0T9m17fNjYyQS9MMZA96saIbkg1lISnxw0x24jhEU1JBQ+RD5o90kUXEgy3K+jgVX7cG2AymVM2QlaV84IvlJ5LS19AyaG9sBiz0GG8jUp/feQ+X+nXefRXA0i5JLIsJxn0aUO0VxGBPpW4Co3VVpdZ1sNA/cNhE4EHMOhEO/UeKefoVvbae2pE31Gc7SDvwM6scbr+w5IS3l8Q6pSzOsEMrgybu1hTvba8gNG7+uzGrdnzU65XbD9Cz6neYrweRkNF9/2vD5WylVFeMm5avK83hyulGova3vs4wiNA90HZl+Xg3ddqV7PQAXffRTzO6UHulQgkNOLwMoQFjhLTmQh0OyeWeb+YzIy+Qa1uomB5kzvl15FVQhjho8+nycRzpye49NqZuTja6KPHJyQDf+ybZ4tSmbCyHm2fubFdCfaaxs7l74D0Rh6BW22BDorK4rbtWDWI1KTY69zHp5HefskF5/KIWca/oQsyC0Q81XsQqK5ZpRhKlwsEafcgF5/d4JOCcEmTWKxjH+4zbBfh2NuK7wtaiDhg3L6FmHQzahEdYBDNYLXUbobOUqlTmWahgsWoesSoDD3iU2sHHuBFqTVl9KO7OisBlrA6SYApXXmMANDcK0l148pPXDOejmnr1/33DmggNgFBd4kkK8QldzsZ6Ll4X/zdl42KnqUVA4vKPm+LGDM5vjGiKM5e6JmbJKvIOjgcuqpyaAeY9gvLehwLexzH9q/pf+5YakJIF+MpLGbdJ0T3vRJMkQW+dprZfTVsmcxg2k7ULEenxUip2Sic2lazUDVxQ9LP5L+facJaz8LKruAwZ7svT6IXWcV8A8fbqHhzG2Pvc9++IRpa99qlYiMLp2h2EZwZ/bygCHs2+LWaSOq6woO3FUQALQwfrrDNagbSL4ZrVg3kCmDJylgvUzwwhlPR/bbO98HVObTfkAtvpEw1H84iykprKmBEMrUA7HK4sD6leJxWLeRMdRC42lrT41Bi4dpZtNaXllGilnnAN1olpkyFE3fly1LrwvMTSUPJjNbU6ahyEYUxBT03wW3sZw5R6xC32vqH7S6OrAN+1kXw0I6XoyYhUUj8UDyNJRlgzvBPVtJoC/41FqKnq0MK8QpEy7G6ck55pMkcmLWB+k8eCr1UURi1iRmK65qZ5Mkxigr8AZMjEKStlWKPMelLnxbKEj0IS7u+gsom6AqClz8Ef4IOFo/MjSoq7fmc+3zGeRifHjVedPiVa3ATK/Dm1pk4d11I7+KnrdekDa2QKvga5P5N90V1QOKCHIni0Tt7XdmYTtB/NYp7O9UrWWCHg1F15RnOyKMWD8Ze9YNx7sj634lcZPLK8t1W7XvIowEvmmvufX5H6yUMU46n8NVwznJXu5X9gC+Sd94hiok262vAU/2nWUEfaApqffp3i5PPTaqgIBbTORfCKzHX91HYMuHgvTj9PW1lZP0Y6GPHXzRc4njGVspcVLxdjRfA5vB38GjRVHrRa6wqBLn3z0hdy6eSyBblyPdihjV7TGN+oDEMcI3TC++giHsdvfI8TNL+K2V1C3mzVaVYbgIJkJQ9c1bkXJkGr7OYVx0J0uvTBf48OTVsxtz4FTCLbhKH3Q41K8I+Al7yX9Bd86IpqclJoQPuq0zlft2Helr/HROukCPCcK2ztt5yaNwKa+sqrLQ9UeqkwSkJAh9WIK38wEum8zMoZQI26KfR16qOH4+oUekzxAt2UQpvwSFNLFnP9BricaLhZQ0iao+2t9ZqiRR5QWwwGOMyTSWpbYvhQV6jNpcPloRSuds4ktsQQYZkzscdhXsmJOc8xXyd6/OR9TCMeCJ7XQGOb5G3F6FiXJBhQCMLieU8o1mu5QHHVbOTEVV9tdVIts8MASdnVhuskvlrJS0znRqzhGz4HFtkdViCh5LnEaxEMDSyFVaRlWO9nWYN6XdBWgoNV13X8agRNeXV191kILOKki1ZOIl5DlvEcQtMefJLfe66MCTiIP6ClgJYOHG0yCBoxgJ0esA60JqcKOOozSEL7Hde38Mc4xT5wWe0d1hdcnEG9r2yT/EAPUogZjC3dYv1W/AQ0nRAN2W23Z3UWf0j4Bx6KUy+sG6Y8J7JveAJiB/JFRfY030kZ4hA8H1nRczVm028vWFE79G69sWQB9Oak4GS9PwI8LyanrHOPEN/EgShVbqLi3O77AH759Y7oMIAjpDECslYMPHQ2gvQqu6n4a5C0jPlkGIs/L0NEW0nuwFoz/CLNbql87z5xVeRzyYOq2TJ4nTn4JA8yeU0mICPuubw/kzOpO1N3y3ZQlQO6sEve7b/67o3U+9HS+Ymsg/S2X9pdsFZtQUXK3CIWdktsoYoUBrwhY2tOujhEif8igbFcjHk/ZBtDrg6BQ0kdXR3ST34kGf6Uto20yx8IHyUKkW+EVTpJxrY4+cGKYt+mFuvR9aEFNpVBocJ0MV/GdKjbH7HqK+lYVrIvz2XvbHyBwmTjWwHyE57kgybOfLKCZEdNlP/WTPz/Tzx6aZWRWLtgCN3ZLyMBlrBFS0o+WL92FKM6LVFNqIv2JjQ29r2cBtMZkzWqep1ed5sAnsi0+jz0szSnvFfm6oMLUvKWNxh6Twh93N0QamIP460m3mM6t9BGvVv9qjKZ+f5HWS7Kj3rzQOTyigBhnL/Mh6Xnf5WBrUhZGmNh3evBcW6UxGlATAnciM5XBxenLqCiGx7XX2Mre+6VDG9OzRF31xlZdqEPO6c451T+Lg0SwTb4Dw4yEE0kNUMNi9zoqMy7LA9zZwhTA2QVKhif3ry5ayR0hFOGJJ1m0uUA1syEkqskKguMb//zEMckcPTX6HLxsp0c2dMaRhnBrjdRYa0XM2FDjRxdYfsp62KtA/bWvrT1HBZtbXfJNatp8qgVQrYt8JNGRXFanfN2ohd5VbkzX6x4JhqpuSDwy91IEUz52HdPRGhrRAvs6UU1VlZZOXqrRnhjqaHJQCoYICOdmJXRBtJj3JXQnT/r8QJY6rueifypNqLpm8etAe4mj7yHeUV5QlxySbj3NXV9NnYkcMKjYaW/BY1IoulujSBKV/yu4OLS09y9VvqR09HeKn/pbF7r+/wj8OUHzljjylj3tIYBMu1PLPgVaq/S7xy5NebGXL9uSkhji34H+jdGJ3raShLyV9Fi9Q9pGI1oGr75oXKwjVTvy0FPu62MLMrfY3VC7vve+6y3adnWWihLIyQXtO4FMr1a7IcnRkVN45KP1zrK+vcaHC6JX6STaUjGscu2Rk1cvTSWLDnaMBzDl1N7TgRhOH8Hf+l3OTb3m8j27bgwoZT9OM5PP49uKS8CprIR9Kd4+h8XzUIllEERSxMXVMvIKMcrFvRwomsTNpma9eF02KmWqWm67mVFNRf2NFT1W2dngT1Pu/dgsyfCinitr7yGBjYJWc+mhq1yfkT27jC6HDWEnJNk8z8ycOWV2LAXh+rfThjRjGa7XNTk5G5J71nL5wyMasRDvr4J42j0Zo2C5xiVnDnyWqKF2poQRM0eon1FebIQWsHlpJPINKS2l9uV2K4TzEFeaWfZUgN80rG6rxt9uResvKxp0jXMUCzgk5hU8ZCGcd5zvhQAWi5gKMuVbvKrcGnjHofGEC07rtHlqFNdGUQacNc9IZBtOBvyBAk2zJk/ikZTYjBnDmUz1jtig6wjp3Z73qi7C9TDJ83yVqfjv1eckS9w5GsD1M25hrw0SSv1FQceGirValuTWkrUYTSJkPPWYtjv6Plng4ItdAH9m3kMR4oS6Q37FKeCK3i0z2pFG/V1ob/2cfLzqnXUAqG/uwDovSVU3KEeTM47VaROgeZaaJTS9L9RGDQrR5+FXVvOgXFJ22DkWZWGaa7cH5oiqPux90/GtYm/BdzLafkVd+4bdl9M2qVR8ADCQKD9Jc+roErh/w/5tGjOgdoxbNMgxoJDm5TQ0mNjfSP//19lAvwdZA3uPJrAkyxYdYkVxvzayZIDlmTZE/WtjaZTI/kRM1b+kIkTIO77JMeBbBeXBc6rzpDe0iP53pLFWaIKnLaaeb1sYKRj/QRMdNHDC1WX/LRFs8uSLjoSrkgMUqOrSdlSuBOCSfE+Dy3SpBwvvU1MtKf5SlGQ92HVNcrf+iK7IDCsrPDdVFd9QkU1eBxcDVKuvO0xuvvkW9jwaa81yHSF420H354hqdk8QICDBiBGNwXL85yZV3k8qqmZYBcj7Kr8/9FiifjMKf+YKhHlr/2Oe8A9g9/npnjrWd8EzvatNqrxbuasqTdcAXmC6H+iCab24pjAt4KGp9RdxU7crPN/8jXHcem0U6+lBntOa8iw+G63jRH0CKblLfEtWhcB0hdEiHMYuMqzcytWLkZztFi/34L4BS+RW8DcURzBZqsW1rthJeHWXDTKKixoaP2MsADMgjhcbXM32aAIAQmtGoYIDffN2Hn9BMVxAHoTfMEv5hav31iT9v7OIrCilZGNsp+4tpvg0mDABSTC0bTIV374X3xsapUOO4XmO8zQ5dNR6UihldcwVipUNO7hKBCXL+Jx6CxeEapW6ermDc/9oI0zg7+dg4YTN2KFYyUQcKJtx1ezIO6OPJxHJLyBU/a7ORxyFCTZ+FF4pQUstX6YZ8BkHKFHdXmKJiWPCW1XESwOqkRd+vO6Y8f9jo0HMM6ISvXKkGCK8+pzo0QR2aKoZcwdRLs/FMVxFmmrgpiimqICNhTzEE4Le+NUJ8UoB2s7Pq8453Nv9O5R43vz0sxM1FqCC5P5qwxJib+Z66h6p911hWLmL/xOQkmLNbx4IQkd3z+7rlAEBVfr46ESa9DGPOXEIg4T9hYlstafFARhqlwu6J66kUpo5koqVxO9U/81dmsg/0HMHMgr+clIdaqANYM2nq/llgySeQjnuJwpjtwWyLDtCM51uZ5vKYb/t7kkza/TZY0YJQg/lPdfmbk8BDGnYMCGKLpWZNXKYfG0SPUfocL6gb6zAdxCnJm/CZCAgixcvd3uh3k2fXWRrt91MFqhhdBCs3uRlYH0I3h+bnpoPC+xBFp13B8wBNf7nlZlk+CogcNtUJPw0yBbRcxm6C7PhKcT+MMYKTDNdo/EhnMgaURcyUpo1J0X5rS+KkIYC66vGMGtcHnZZ0woQTjOwKYTS9yLlXjU59CQMwmIs8gFhT7g6CAoqKfjosTAhvVBYz+6NdMb1odheeOfN56DNRGLa0Xkgh00ifGowErhU6tkxBKrjyG9xSI/ya9nhy8nY/F/uMe2ljEs/X/BQcKAtMUJ0W0QFBuauVkhTT4fCaOb1JTsGVLGx0Qb1/gJpWsXD2a91swDYffSfIYyrcw28Dbk4nUsC2JxYUz/WNQjHD1d+n3MkjmurKkkZbdrRCBMDVK4KXcCN3V0GlcXmhOmSNGX8Tfb0Ju0Rqqnvau3AoRTxR5Myn/WUOQEG+s6Q/zd15BZd2DUP45yI4IgVJsqftinploMqFJ19vKSVKXOz8Bq6O3NEeURrvbyhzloIa3ECuPRyoZo6dQE5UpRtXv8ISmohTS2q6tAyCpIdJf4lImWsQCD1Pe3vIdd4z65Zubtg4R4rxSAMjnIMM3VIpbNOQs1BE+Otp8ikxSyf0Enezf/YCjLii55ZDOcm4B/gDMKc/aPmmvAMPsh/kpyCJGKqJW7+UN77Uw8yvOaPKHiPk6mRcCspsJklbyHQ4fD2OkWbQPNBpRDXMAVUQYiDWmxyeQDUGhVWbGr4gSh4yA5qD4FOcaNAgMETQQ21YRsDG8v9ZnhKTzuFKg0CYMXk+Ztr9OfZWWwid7wrP+YDHO/w5eQ+10vU8lU2GnMZ/nyT4bCRd8GIgobaSSqI8XQXs9spwFaCRgkr0Md+qnNlvtc94FQRC/RC9/7PYvjzOLoAFMa5tGjyejRnTRfYH8ybsEzHSY9BmOLQq7i+M8iJGhqynlY9EMxuikRxGR+s00nHdAWigceHxrw9QPVBPh9TOqdo2NLVwdhFAzvUB/J1HMP9iZb0be+cedt7ngW+qZzkvaHh3+cDdmpZdRQ+Hbw5R9gqXMQ+M9OE6AG8bf7WrYd/4esWNafiVcku5G9gzqzpj6eSpel0C/IX0G6gMAIE6ON2l9lqQGAouD/uanafdtJ23I23MlLzUHj+WWetQMExOe9bZ4Le1EkTACEB/LMedg+mOlN28UaCHwL3EHBZdL7Av89ea4GWozzjdYhpdn8mKXD9vhzI81O4BNMnpSOZfCM/pmwwgGoQTTjhk3GJrLwIv1rCP1/AT39iXoovPp9lMtI3CBnXcC1k5yYjx6qoFD2iJ5dZVxd3gXiD+kiLNUSq/kM6tyHhBPu76tuRC3bilaPuj49QbTkY/8lSJyXuI75NXsJKvuS+aQXAF3ORP9lwOwJwEMdlcRlfjN3Q2e+RyVfuAFhXMFSAEyMu3h8i+lTaCF3S4z8gCXILydU3Ohi8bIsEpvRsMEypGSzgx7ZWy215l/DdIErSRG3IJfFWQ9Zg5z9FqcxQ6jYcnEr5VbnV0trMCzx0qwmh84/0jrMgdG3MO53B1fbTdvL32m0ZInNxWbPE4jFXsXYerBLbNOpYDiVBae9BbZaE6UAGulCh91OSgwFwfIvKcp5BiO/Yqq5dIFU5YMOOk6qE8ZaFZLqgRi73TfNo/uO411l+9EIL+VYXGdvPxZ0FGWI3K1HAxd54lB8bJRYB0V0xXpE1KELhIJnCT2lejTKeHRgLBRWBGxEkiyOckNhNwNwnDc4yix8PI7PU5syPUSeCIRgx8wZqkhBtYgEh85dZ2OhZEiJtkKG1rJ4nZR8ktnWc2c40cHnAvcQyG0tZxRhcWhJ+zKkVUlYmjZixUGQnF5Ea6ck5GK2DKwE9b9ZvlRgEmNFMGYLINT1YZcTuNo+fulpIutAvLWOP4tqlAVdc0MyMVqikzpiBPFM6h+B6IAaqKU8PRofhGaHiaWwmnZuCI+Y78/agUWLrFpz9iCfKWDskodAhUMiQW81oia7mR1vxRiSqffpmeJmLfWQeNIaa7lUMuNaHUhjB8aVoRAXhrJ7u1wmmYFoqSbcD7Gghqoacp0Xnb2TJJfVf6EJOBomGyWaXr1bZlubus9eOGnDXUIRAsV5U/rZPMDScevaOenp9OWtjqs3MkI5dvsyA9EOomULOntP5f7RDFEqOjmzdBOeM3IwVL9EhistIoN52RiCGWXRCA1w2BEGHKXY7/uZypbX7RFZ4wTGQa2+OTFpYy5lLK0rrvPFl3RUeDzsMgrfnNVEdDQoYjoe+jH44zYgt+96C0DUQTwgizjJpkSxDW21xJS5TkKf+hfRONtWpumc2NbUe5CqFzI2cX08pTmPDP5gXjVxWgsSZAijb1NZU7VTV+vsARt/xmtJs3zXY0kaKT0MgcvhK9eW3zvuvy4SDydNVyWWFAsTdlWdcZgpkTWbxGIUGrArxBcS0dQEZh7iHgh57kz+Ztw67Va1fY40xMPtBrrSDPBuWEKJHawCMbfyiKLiy+hIYeAbQizvnlfmDtI00ScvEoq6r0xQbyMKMHY+xT6qTpkMMvrWuN/Gm9sd2XhE6Skqqibtko4HQK+/choYByZK1ZJ+vAuudlegDCwwt0YWzy3tPn+VqdLvQdM8zAa8XQVMGLi8Uv3ypNq6eHQVWPja05jxec40qLhl/M3l4ga2ZoGzJWwbbAn068rJ7mDovs6WrmsnAatker5XluDNArenToSEcEpDR9d34eepRLg61Gc9oass+PU9+v88xD+XzHT0eGh3kvFLI1Tl6FqdJQDBUwJRi4dcsoHEFWb6HS7enlKVI7yvuogzVCy8TV2c0gBUzqo5OKZtDkcOUhrtcKnd55H6/Dk3BMKC4WVifY9IJy+TidvGCIiCq/HoZJAaDFs+PCz2EnLZdpHNNJv8Myx7QSM+9cuVcqpQBkBULx1xgMfrlAFOpNzq+fzKUf1AHMVun0YNDFYjEOQPkGeNdrDf+Dz5l2rbcwrjVCAregq6N2aTH7nxl4lD02WLjPppcBB+FVYN7w5B6ScS/pAuVDLQznJBfg+S5wHe2yD4T/cu7SvGUEJxUMMWHJE9Ze+sArLrZEfIIFmcgqEstlrlFEJkBb5emrerqg93Ro6QduxqifGVoDNa3TUXr5CE2H2mlcdeqWXxqi+qtK7AEwiw7zcihKCh1c6rchLP/6T6gHqsrTmd1NIQs8IRBA/2smMHShO/3yOPerLw8VydwnWJTE/Eu3SRoozuYUX8Nh7ntqNY2984GrDFIl9lwPZxjk7MDk89e1YZu/HLss3dCy3g6sUfAFVtrM/HjM8K8c5VFmxW78JvgfeSJCI8HieHHPmaGvTdeIj39csTLGkRo+tTPqnJwWPk0Q4zlnnacny+LaB5YULvnCDfZ4NAVA9IHyFodqmrmcOKwSWV+ntlwR2tDTLQBz5efLCY4lNYO6yAX4owprbZhGBHcO5LlJYV+oV/h2/Rnszw4Y5Vz7pTLU+SedWLvzuQqyL2UlGHp09Yeem9UMerLSEqzP2SzT6iTCfMYtkUhhrN6tlQQap2Hqj5hgzUgde58PXc7bE95PWLHwTuZ360yckHrEqLgi6B3VE7DSdAYZVqVgoKfMI0zUABIs3tvcgwcNi5b2LfYwF1q2bVobba5hmbOKUQvaIYa+M/jvTPyzNGlusd3wPT8MIOm7jnFeGDxnrVepXLBT8wEGCMVvWD2mpZitn9dxSZFILNKDdXvS7fRkcgIzcIdjdIeG8kbCU1gYPUeVj4oGb2gwVO0fwBxIYuHYWL+f4i3BUW9GNQb68ddza2qGmC+W8uZs/Ue9N4tpl5tC39JLs8BwBqxUk6IPCVyzC1lQBSlV3AcBnsqJVE7S9fICUfcnuhk4y52r2egT8NU9C9xBNilPWOvxywMTuY64DTJ4y+usEtr1l56RDGgO3SFu+NdOAuUuQDhnaYypPdgod0vVY6GPpqxDEiFn/pXdpqsUAwpyB2pbMobGECQNIdJUtVGobCrkyIOw74NGPuKbdguvE6cEQUgozkDl0Y3MSChZo+JtIcqXYTdxJ2vyqX/uG7Zb70AY/WWXsRRhElRzrsy0jZe7XsZJdkboe3mVA60XrjDfEiG9stwQxqF/Xkn6hCWijxX9nGbucyHlILIfHwoyFalpM4YvkX1dVznor6wntFRbb8bmbN+6HiCIW2wzqL+Wwil7Mts/fKgixFhaM963554gNvHeQWQ30CNIJjLFjN5ETTx18P3B8DjWcLDC3EJSjB3B+TpXTgLv5k6GEg6kGQwT9riCKEs2SG9qFF5t/ANvD1wYEP0iQxRDUmOvfXSlOlph5jT2FmT9vTXzcGNSrLEY5dd2cmxTAam5pVTeN0AOUyqay0Kf1Av2ekfR+/7snoDpTJUPAz9t7OPzG0DMOEP8qwk2gAWnwq3WSyxKbVLV0bdC2EUsXwZ/SL3Rf5uwZhpOQ9ZeIlC35kZDmatuonAckJzRukGtur66sTO/LOw6R1drNTSwadRD3PqOKMtbJO0BgHFOMN0ZzH00Ws7yuAPTq4tu6RHbleFyuNhgg8dNubWG1/V31YHcpD2+nnUu2IQS/yYl02xV7jAOmIr7WGnVQA2H0gMJBlEWMT8n0d9RSgSjMGYLowRyHRwGtlFXZ6C/s/My29GkD8gdQ/Xzf7xoCYkCS3Qkn5kXrN1az2XDasr6Vi9+qu0HnRc2MYy2daHqlXRX83CJpRHSaxFh4bjkraGUJDDeRd2k2hfGsjFYYO/CwGOd/S56eW4PfBMlocoCJREilIRO6MJQ4XlsWiB8NEFKFTDkbPGxxdBi6DsKSTnE9qeEjd6ZgoMdg5fV5K0w4bOMDaaNaQgfT/OQuTEpvURqaiiTQoX0PnlePtFIFHBLPUSR1ITv3xsVVV+ZqlcARBSiGkB2y/dp6IiNV5+oOAa93xQeju5gjY8TPoyAB6UkWzC69epW9TEowz20brBZZ6Q6HpQPkHmcLnvR5us9OWD5RtH2v4o0vQuHa0ljOcj6PV7ohhNITIYpC3gg6EYIDwpipZoA/tFzDnAbAdECVTXTJEv4x4pyQgcFnYPul6PS04NtZo0II6hz9iqgk2D/Cq7ouP6YFfVGL+2qXuo2PkL/9Emic1pEepYDlhm+GFrGQnAl5qJriPUS4lrIQat7gh35HPVCJiVSR58tFWsGbDgRAABLoNAlBhefEUQK+wx1aTUtvFVzbYpBye3E4J9ioUU7rvUQgh5etIVf5dEFiOH188rKgBzp273HS+WCR4xB/RRQC0IkRMaEyUvpBQHewjcpxLBNOYQi5uSwCuIvHBQigxugTQVJT2reZD/aZFtcg4rJH1GlJIfk7E+sPp9oAmuH2btKEyGDatwsG0EfPlaxPcMfCwm7nRQqHJz58973lm9G4G2h3FNmiGsRlRLEmdAuLxqzN6MR2ApQbmLGiSoNo8BqKxKayrf4DBan7zQIOxWFLPL28rUrN6RKKKUHk3VTFHF6gPjn61s5oUQJDniBOoo0b0Ko0V+x6OZCDg17aLqrsgXcT89cUFxzoRfKqWn/CvQH/M73zzE217APRJ6Nep824UTSelluS7vZA0qaKmkv4GHY3aNKjhAgo5WbAolb7inOJoVY/c1zhCDGvap9w5jR7lUAOsK8TUhSNwtAaYgYUbWwLpYYjUbpkcntLJc5RaQgUOCpQsc98T1pTvNK6nIDNkPhOjbMBA3laKgFi+FVwwB5IDK8Ig81hTTg/wVbDnH9Um/ZwPjgwX3hyHoAkH7HbX+3YIZbG2FgmPsj+Q/e7URe4W8WgQstQLpl7ikpabMNsWcty8QDhOwmIRtuyiGNvvNFKKuZsGgGlDAFWZcEOn0tOs3l19UpMbPdVMnBUlENSzWuyTWRKjYNRpKVEwGBaxzgzpEQzZ4mobDbVNwNqtX0YDytDTUHwusJfOoruQWAYMpBttVK3//h8zEtelrFattm8AH5wohXKHfsJmuGGFzUYtWABkfMMCu7ZIggrgZ0ly15Wtfm2FuvH5yz09hnEZYBx/gFvh4XHm44SIRASrAzKFMpoiPTODlqFfPte9aMynZWN/8qAiZ32kGWxd427CK+ddaGBwPMAaZUKnar5JgLAKknrMcuniqWAMKtdo5tCMshlacfvA7Zg62hsLKYn2NJZTtuT1sBxLghMD8SRr63ufebRgSal9E8JJg4DtnoP4zqEPeKgnQXu7YcayKKNKldrpLD4+bY1MRuQYGaQDtVWzd9F8OhIY4KlXIkCYO80ZdhlxPqsMybmBiQrlbAStxs/7zkRwDwFfTYVQxA1wFEaflinsDu64Ya6eIHQoDc0G5XFninRvK7hbxFGfGEi4SoyS4HBqWDfVvT99PE8NmaZoSYWO3TVCSGLL5OSVlsSiokP/N5ocEeShDdDJzLsV1fY2/o7I/0pJZiSBcFZNz1IRqLlRqunhlN9QEBYabGKE36c5Y4ZqhJJykqW7guYdWRP/Dz7Ho5+JSGw97KKeYUwDJXhO8BZdjKSrvgq0bwcG+BL89LJdsurychi5W8jnTag8dDzdQZ3f8ScPt4A6knL3j3o5R9OAMEfy70Vyp58Ro24b6IEIqMMFQKqsN0AZD+TzbvQ84QUwzScTs8nGPxxTVD/C9iuMlKTmVDlwaVWyyC8VzwRNrVnX8n2W6PCFlxs0RgbfIL3E5lRdEo1KqtHrfSlkinXrPfYgt7znfEub64g63qQMAkAYRaRtNF7QAKc677xNT9ZKvjvKtVcJhs6QCV3bAmoOymu88X4rOTF0Kpm+AZ/tHMYTEz9l6K2C0WIrYCZVE0QHNU8/m9F1GI6uG8H38cRR9wFtl3gONX4Rx0VqvsGmPWXXk2CKC/7Szv7KB6RmoZH1fdrxHw9OMHrinRJyHXO9Tkwl7sm4uaFfVW0XWQZCIpAnhrxJfovsqv0U9PazyfZzZLJbtqQv5mFzESdaLmPRXdJoIcvrsK5hvEEYlM1GyppZD7Ncea8lmfNqw9xbjR/+g7p+U7reaIQx1NaFqiew6Y8z3vUpP384+mSsOBm3YLD9cWrVt1nxzaLqBDzIosVNKmjLR0jEkIb2wd5tvCNHWkl/WDMomAZ53D7j67jq6y5RvBE/w6ry3BC0PB+K8iH1Rb+LMUHO+k1eXhtajxcPze5nZxr0jjIkXWqy3L9pJPElIbAi7dBzzKHIq5uiPHGlkeQnOoV+8WiRcX9zycSPGdrysX5nN/OwH3ArPpMg6XPLDCqWDJpu1VPfcwffvCgoXRaFH9w6gQD32doRuhm/Ae2cltPJRe/ZFfLrOEjSiUkiPGLUa6F7fRsugwhUc/cOLOc2YLxyG7Fv7YvolIzbTVLdSxliIWH8NCSyugaj8W4DsVEseHCRNlruJVRkSWrME9B3rO5FJMNmfQgE5XbZoh1dBAz+eg9wZ4mdG0ZJgxrWas8I06H/FX2N4sSO3buKkO+rsvoI2r9pBR3yOQyVFaXpGvGNiy+xljArb3XnfIU+JdoDynY+QkOZBJsgFD+h/lT1v/JkskHkELF78oMN9in0KBPU/g4ieFukqvJCaa7+HIgvXf5hgYAbBrVGUMc1OHY0nKwl6WZxEhm40CdOWkCQNrBMOGOa/Dn/vUwDmiIofkmT0mtL3xVUuVokWw+C2pcsASS9nGth1S4zrMbU4ODM4gTXLvdqAVoO5FUKOUgcAcVb1leeov5AfafftPSMRpSsRLlM1P07NbF+9ekjXfcXF0/h/93+tgQzNl2ETlZJxxjO4zG7jr/6R8bzxbKFQhCUVagCBH1yn0CBdAP4ogPkEiOioOUvYvnmAvpxDVMpvRTkMOE+ePehEYIpPrn55i75QpoflhMRytRU0LS/KSicDVj5aoAN/nTLHEr0oZAEY8Ljxu3txcVfvQrVwOcG3m/CizdHJhwM7CGExCax5EkktIr3gT7+56Ic3aw6CkC5j/3xYuMh9ID//UYJsXnJoTbJuFlAG7fYhfMMhUDR/ZdgvyJRwymu4Gey1iSeujNFZXzQ2jfNY5qK/CjCwo32j+p3RJzpiAeyXETf9KAjTKtJ/IZZj1xVGDfNSITsNoXMPFfUKdgYFw5r1dy/WF8oGVuHNsKi17mol97y58AfAOjmzH7zW7vgdRnKLL51sJfUolfgn8s1AAlSu6II4YggKOtPNDbb9AjN1s357Icerhmcl8OcViio749ducH/iW9GQHl8/7fVeg6MHJt9fOIMFO8i16+wZBXvAKH9+LW/f0WXDkgkAVxC8PQI1e+ZRX6pXFKMVfx/HvamP/AZbDhldlVTJzZwXBfcjKx4ItEQdpl4PMt/gYI2GaeEpeCTmdp+YBD8x6VlLHJpRM+gfe5QM2ep1jmIk5q1pzIROBrwYeeJnw4Gklo5mi10Nv0vFtsdKck77GwR321asZczl6/Z+qfN1YUbEys5SXFr80ET2blEjA70wQ9VKq69LBuqKjzZpFQZteQdWAI+iS/jm5joWpQ2iTWBhf2RTfq2sRJ9e2IUTF//QsoWJAdjGflsq719ziBtnk0g5K2/M05x9N2VfZYC+gvtWkkMa6mjUbqhIc43BbPbvVmicmxho4O4+ojHg4h7dt3Y/dimtHK1w0YZ5cp8CN6NXTfqX/SwvaEPI4rX6FO4RiYD+5NS9P1BybGH8+s3JkP79ypcYC0x4gjN+ZWcJpZSOtryn8inOiW25zq+Xxq6zLHjY2euOnXiXqsf+GlXIK/kQv12DGgahJtdfzwc5G1VrhCALahB8pJCEIEv2K5avp+epVRwWaJ/jX6cOsPQ1cetwZVrjHwQwN/dLZCTCNrM42eqenvSf2H9pC7G4ZAMu2coGZ7UXiIutlGsT1O0rlj82f8+wvVih6ePmSsPlMs37cGv4mNw9WL8NxSM3Sjv+RFVlbcDrCseIvPA+miKGl1Hpzn5xCO2ebsPU0I2GdkdpfWnNMmLu3bsKRGyvhefs5KIKZ7YcwVXrVpM+oPN1k+IFC5DMQDc3L6+q8frc+21lVM3b0GU1szyCTHAONHxcjmAgIyfAmnXpu+MKDljTIf31bb77NOKU678jftO/O6kfm9msvvxh6jxKVAs4pxuMN9wghQZGakTA2ztWeiJjOEzdTxQqlH1D++A7UglusG5vGkzLH1aQk3i4jjMAqWe2LkEHsOnKTEtPbMflS0adJOPT160MFNl95mmmAYvQvG8uGfAy3yLfblflf2pgzxyn2EzR1E02BmC7tanv+bv4O+Vxp6mmt3O0nHofl4S5ANsBWwVLLwmTDv2BR7CChqNA9CqbG0nnU67QYpUzt05p6oYTxyP5l7ZDS9+OpW3vATtw6pRwb8CRD1NPnno+ixhPrqtTeOD5K+WRdxYT/Ebk58KRwLzzUt0tQZMDfo7UuelnU2GFkCd+asQTUhzQCjV+8Qm0R9oJSzQa0F6KQNOcgQIuNjKolimWFpVT6BxCWkankV1rHqkDdLrEqThTfR79JnJ/Pk2P7c3Cf9lvGDIBXo9UIV2E/qaL38rosXtxS7oBVnCWv1ix7OuHNN5xHr9UNg9jboAvXlIN7/SSWwnH2i4WTT1BtYsNrQ9d4U/uqbhvFW7e0n6fOfuxxb+BfMwZz1Zpcb4XDMa6LDr2Jtq5D0Or/sVH5GN2Z3z6+kJrXWz/dCdEn5ag+8Y/DHgMkr7Az/p0xCepXaxec3u/2oxPU4DjN9x+A6zffREn2WvOqcQKXr0E48+kQUTTaLsQ8Sz3vjDHJN26RhlhutRx3Wa0AMwQfF2sPHPsZpQJ7pqLvLCvBjOGKt+jWcFwA/jEFlPw/9enbIuJpl+yWOG2XkTEifKfXqF4BCTV51DxpMhCyb0aCRSnVDgcBRBIvZ8iMqhlJeG43zI8GjjZRNbJI8KCywQ1i2MyPam/WDXHHzXYgOkgPOJK8MYQ6His8LboBslXEZ7ajh1TX2Z0ErwbfhOfaL6eaDOCB6WnosaOgG7FHpzVWY9WD91q4ZK6tj3r9YPNoWKQsjUvfQMmyv8KbQAYkCtzvPpcggZEmsCoGYmplKP2ps7ZncfNgPZTj/BE7t+ipRp0I8V64QA12WyImLgMLDokPtw6OWR3AM6Ba8c7w5Q1x2VYkoXsIXBU2gdEEwbEouTLM5G1rnP88YJrT5bJn31OC4pLqB9JDCb9xzB4q/agVhjbn+m9PhDGldVO5W+YWt4ZdR6YgIa8Dzqw4NxLAchCfNzobaU0dxCW2jVEMF4GKu/cSPv/xPGZs0XMpCxQN9kyNV2M8dGWharklVvYm0Xmx9IjcfnAWLHKWBGLzwtUsL9suhj5CIgPUt/FYTiJpZ3Z0apHG0Y2oXZf8w3XLu7T88WfnFhVgIsDKqZbD8rS8MDA0VWvyQBcu6hkZxSYAnmC6b3gCGUsFaflU9K3CLvBw2HgqNR9d6MBQ0DPajioG4bd4RJRHEp3I5S0zpmVgtS2O/afivkkhv6mtHFhvy1fzUNrDDm+WR6EfCjaJKj3i9wblwBTaCcFP4C5ZX6xmyFloxYDQlPKoGRCzn0YOib6bye1HC0lVhEgBwkGl2fo6QVvtuW6U9vWnQjVYZkNDBpAPKr7E9KOlHo50iVmSbg+55wdDj5GbUZaqKf0UidvixEg7UKgof97R8W6UlJLIwHuCe+xy+5x0O4i1X3szbL3vq/gDgZkZhKUpAOeYviPfXUBEvL/BzykB7lRLxF320S7JoSiVoLIoKCNL3EUzfXpDjaEBzXsGqjfsDE/Afvbl7ew62lr952u8oO1p685cq3/AfCmSjHS6cTFGNbfrakDi80iTF3IXNcjLouhspnXbDh4fNJVHRJbndeHOZGSv1wdjCrq9Y3UqkjwL0LRaUZXGD7g95Fbng0LAqatVUjYZ7+mZW0lo6NFeiChT2Iw/gj4tDwjj0vpf6cDzYUGjHot14TmnlKOI+uST9Zb2Dl4jRUestYrwthuYMCYjYc55peLTeoiYVuCfm9O3NAhuGbs2mkU3+SJ1xnV029e/eJ2wzIjAERv9vDLg6qLeiAyhff2iBa/CL9y2iGWg/zRErqXq07MivdKsGFXExWs5hykjgRjyuXkjqCfAL0N/YMfrRRavvV/ftD0JpV7XLdfQUOEF9rV4AseZCG+wYvwoJIvRsvmhMTMuwduunmYC9FsbEFOsFPYizkwJx5buIawqfbvBDSE1Y6+dGgR0byyHMoOE2MuAfdGb7tOMo2yYAxudLhYmYMCPpa7tz3eupDg2bz9jxSECAMhxaQi6MX8AOkADnleD0jDgT7+AhaitvBlWTHjwuEALFcLLb9S/vCP56lRMHzVWKiAjI2F1AXrAa+gM+PSEXM+mOTQvVpY+0fOHgnA5ApjU3nszT/+w2NFpk+eT0m/IJKOUFOUktu6H4XHu4en6cQVatsPPe80ILyw+4NQoGK/OVzj3uCOxnROq9P039ObYDVsGrz7+BmtD3A8oMFeJ4Ew7U6izyZNc2pxu2X6UIIwlXEPbf1vtKQAoV5dQs/MvqagiEYyNB+K3uAVDc4rUTEAcCHEzf4uzUG/yR4ttiIXPxlAL76aNPJ96uVNNr2MqYQrE7Q+3gFN6jxFWYid6XIM2LXXPyC7mXKCSAXW78b/W7QAtiUuoyvoFi1u23PWXQkhoViq5VW2k/LnZeUVHBMKolPPV6s44vaSJZ2Jk674f43hmGjeeHsJJegKQm9eI07+dYQZdXS3q5wqDhk01lu1wQJzUuwHrxBOSsYCZ5kGs7YZ7CCMqrDc7cHoJhdflskOtRZ8STF3IMaZ6aHKUQ7sRFY0S1U7Znq9w0UkxX5Q0ybhqecSZlCdU0KEiqjXr1ntysqIWoihFcyfc+Rtbx3AnNCJGfdoZvR5KPCURVLYTbJ+qCMyxOoQwZYRfzIz8xrK0n84Q4JJc1WJVoqRzjY0tGcFbjRiPWd8bBQ7OmztaK7tu85iXjeTkfMT5gwjtQQ/houyu+JFNqOUUfi3P7KVXuxMCoCrNdublQREvAFOiKthlgR3Q91W1X8JZrWjtVTxBd0Z4aFG2LbZi1lYkV7nHX74lFPY8qAOfFB2Uyswxaqi9Vl8YYh5zew+AjsyOp4plN3bUnrzS1M9YAS3PEBKEadQsRuqhf10pFWvGrokVaXCsPhGiqSsV3n4LrrgENxYzn/Snsj33uSs3L3mCRXuGFPDq4+2bF2uxQqq6eHykoGTEOPhWI3PQ5dYY2rPjBIEM54ZjdqFf1Wl2TWe8/aD54kG67Jc8yzG+f8+NxAXnAL1KU/ucTkD/RYljS5zSIjNFkAs4Di6yJ0eCYfT57PpfPzRDSE6lTWr9vx/4C4rzUudzg04oh5ga8lVI/xmtkZJZBgg20T48hUB/J221kLIOER2i1C3HiHFntnT0cbuLnlLWpH01T46JtGTAiOo8q5mnkpmR398bYVrOdjmo3N7pdMKPCu40D857iaYu+h0tdO9BAz5/4OLhDNK89ydNBIkVe7fLvItrwnhWESTvQXOfaQLznLt529B8g5BoA+8gJPIrHWJXLriNBotc1iV7oZYYIXnNTlrvi1FC6rvjNVBcPALoyWFpm+BnR6INz7entnN5GHrGontbPMuyOmxJz8Md/vk5SE5+trpK7c+VEJBjRxIzUem7Qno3Jp9ouRc5WuGaGxZjt940MVZfkqRvP32foUQe0oMw9G0mGE5yahFPehEk9Ypv36Si39CK14pmaCvelnxxK28CTZbGgukdcISzLdCtdn2eVBwLSEcLdQav17n3/ll0b16QYMvmkdEtdUQJNCMNGzKpzhb08seGZsLI79gc660zZTG6dV4Wl0u9M1yzsCpMkipx0k4EOmquJ7sPpsXbN/4tnA3PNw9/WH4VrFFfJsgzhcnSRGr7v/Keo0ypiFFXbEU1Eo9rX71j8kKntySv8wZDI4Wk890J9So/rgXOE61sZoRuxJMSYAd1h4CyimKPwm/2d0HmyTcjcXDA/Z5LKkI6iYualPnV0WNFor+4Eu1lgUPu1+tchtx5gBaFO1aUFmm7KNh4fSu78k4GfyNrqWveYsFv6zfHYY1m4Toqjce74qHR/DvD8lj5C3RXnTM/oadpob+BU3iP0frfFs7e/yobnH/9KS/DcKdGo8ECI/3ZXxX++z1TOmUC7dxU7QiSAfZEoXpPUmZ9B6paSnoWvnEKp1U5eQsg6JQ55LNzNRTDuR/Lu4W9XuIGN/d5+1+1RFX2ZFRTodf+B9whzU2RhbWXn+rC3h/2y3FfNhlYdMENvPVeU1hR9GzKQfKSTe+1tcYsQegd8S/mnbGwsmrscdn3GaBPCBe8psh+5YIykESyb6WyZzGm6BYxPOQDGO1o21k6ITx5YUQ+SfOt0agUqnFcTm2GbXqCMZViea8im/c9rwZFhB8NMrXBqL479Apj+jCNhcgWvMEx4uFQS4PSKnqGPVLaXrC/FxYGa4HRRD+fcYJLVBqnlwcgMkwnRaQ4XinAHI5jcucZbsqmfFM+fEbtp0sboeadTKwv4ESVX4CdU687ivV6yuwH89my1pRzlNjK9CL8whPpJszJ1P88PjMS3Ajmiq9c/TGorTFwrNuuG2fmJzKNSB7eUEZ8qi9EEgIHuSLPaksb2+Bvau+qzf2/rwc4rVlBUZhOBjk81oAIXCGWfIem2GAjhyglapJ4kqkx2HMDmi4c6P9CxbjK860O7Py3R3tuduODVec3gn3Rl5k3GBZGPhInK8XXuFKksWF0rKoZ35Kf2xXkHiSQA0Ylm15l92mgXX35HmXrNBMOPEatQlIo/avndke70MxAfWpz7bJHHXFOQbE9BUNboBRGAQlkAkCwN6wrYU18sliccvHdEPdU85nR4n9jtFSMJ7koIcwO/pks+YzSvoPKrsoQ8PPntBeqhCPSu0EnUjfRapT/kz9UB6NFoR/SZiyXpOo0iWsozzGvvI+iHyN55qGn+nJcokMW6pULn2ssvPwnu9VXT6n483/RQvFfsXNqL9q8tumXwmsDcnxtAeGc2sRXSRDcVgiGwi5AeLoOgJZR8DySv8tSo4Ks+6Y8Yhu2GBGpiAu8jyYOO5i/g3iStOp5LEH1lfU24YPBOrbKjzWdAcO79Yg0KGHXqAheO6yNfcLhgs3e5HjavAINxfNo4wRzdByZoHAZrrfIOhHbCBOA3Oeam04vSLJZ0rUP0oFNqvvNY2vYLjDAf11MbSNrwJEMXbBOYzxVeYkVWwxieVCS7SczwhszwY9G2ZSb4LvWvaGyzpDhSGXm31Ix6LZ+Pl2pAXNRBtc113ZBTOY7CNG5rSdUGwDwL4votGXac5TK9a2QCcE9lBR/4TnUPSEPFZh4qk/w2aQZAZ4dmgFkmh13cKoCLWmEBiQutXCZ2A4Ltw9J3VTOCM+NhIgjJeYzrCGfoBS4u75VmE1BpoD/8AriLGO2E6SA4bP6AegyN2Fr8vXUmsrlg3LdePI9NpaeZgSX+42dF5+bOxBA4c/MOzirmacsm0S4Uxv9qZ1khBmQ+0Ad3CjNBxG6doSqUqtWYHalI10l08bg2VkoxGquUjRXq4BSfi2U45XBk7LzY+1J6jFvavDmBVnlYKaNBJ8FKxTnu+fp8w9fVY1Qyxd3d0e5yQWoC6nMIYjUTEiahrJSE3VLSBQTaDfOvUopuFlrzLQBHe7azIVHtjBUhNd8dW4YBVxUfyqMXZp1aJywUQxKGlWAHzMIIoeBpklIcdLOfBshYCQBvRUmyIDe0PRD4FE/OdUj7QYrGZ7ZdyYeWCzgZVKyRK/ks+rhU91KRp3r+nkf6C44IkEkfH1TxseJtFvwV/ZY2iYTR65pJDxutjtD/SWdJdFAd2hLSI01L9pihAurk0tKWtfD5g8+6XsIHEA9NQY0StPXXbhR2aj+eEHmlmlct0foVcMo6XpxMRIpPNIQBfQeyxupQ6ZE2x2T2ug7AnONq0FRf682J+/NTjpK3+C8sIQiX0flT4qo+ejAcwL8wzfSO4p230FmSW8qtlkcblOroeoJUGwXJcwpRwZvyK5qsQwRF5rycTBXWQnZgMOl4n1drDtF95LO+QzUOVVHqWcKH8U+TJkWu7EeB4Hn5BOEiWmlHHnZG9/kU2KMG4+c2qkuz4gtQ92TMkFaq5KrQ/zy04/5OEuW9FDv890LnddzQFH0UB0ag/TC+GKJX7iKFkS+IF2yIcPsUTXYzg1n7ItoX8ELkLbykQmuSiwHqXZmef/TmVrli+raYo9drOhm8dOpofIDb7kSvm2C6gPig5FayXMFrE2XOwb+eAFoISSYK5Ug9eGu7kNcPXW6DkYpBV6UgSm2KPcoSbPI/akUjwZzTgiC2vbJTuHI521p8Yp4O0GIUHwciwV0t70n9WRNpvwRyUpW8wGKtBDYtnp6kXO0mNs/4TpM3j5auh6k0Q19+I54dVZ/7N+6Yh/BA/vcSz8UkgtmbNEgWnX0o5nSivLbmn9GuwQzYYdj3TcymdiAe5EypAG/cTXPjTIPjtuSm//OhkeWrLcYqHM7AtJ908ku6VeG/Qjx6ocS1CYxGFET3wXC696jl7G6b64G3z3/L/d0f0t0y8Tbndj4cAGBNnC1Q8NfpJ7542M8xHWIBGiNtFEtu4GszShElPZuAQkmPl/J3xFGnyOiWY+HSk7nnAF6lYvWT++A3ZWgjE6HEzU626bIrFm3meHpF0XKD+JcJszk64fCu66Z4U1XocR3hQaqP+inV2QaoQ4KgnWChsLIE6S+eEPICwgsc3BXN5bp8TrK6IVJs8fMB6PL/Lmi92mdw6n/fxKVbt95K2sVzcQL04oNHlIQ1Qh/suE9AYAk9cHaSas+ygyGdm9budwUff2jjZs7mTYLkJ4uVZoStWnDUNhwHB1aHTn9/Rs3XWBUW9Rc+NFG35ZiRgqcd4HG5p2xNU/O4ArTSj5fb4ldXmGT0e8yr6ZVhgGSuTv/XFVhQiJb0teXTC3i78RHT646muSowQTHAgmxgW/vcEHRNuDO0XUONyMnsIFSPYoNuSpL/aJRCzWhzgbjIWRxDi0T96J3R4gwwX/7XcwRb1wuHjYxPE7AAgyuqWHMpy4WGNEWU70ahMKjzP/5lZp9l2WhwdbTaykHSn7rJv+fuW5XMupLdAQpwTdNVpw3NplRJaz/zCMS8UYe0LexCWhyCs1MgLZ7MzvVMRvxltEmHNDnyhISd9MYpz7ravtwUoKC1/8bAY2J7UJ6Bwms38X7eQWzjKajlwoUaquaf/xZUX9JGZnp00t/RMrG9JwChKLzGek041bU3Lcw06PPV4cOpj5I0BOi2odn5fAIEWnB0Z54jk2fUP/H+BaKw+0nFN0TIKDk8a6v4qAfQa8g3WNFj44IDL/rGfLFiyfMZeeRy67OBHoBMBo8BcKK5Kil9JJeDR+BShwFdn/5UnKUzmGA6oiP00C+u3CjmGQ9KCafmI7ASKlGLsfRAs5sZBWxmGspfApShjCdYBRb8kabWIkdAV8VX4nEpY+lngdoseE4reSdv8Ud9X2KKOyitUMuzTEH0VNTHVnTQMaF+KjB9aGdZiaigIy+XxoUeFT/3Gf3txEm6ijP82SqAF15s9/xNE5avjrMnSZcCNNqDN06OJ8YULiXV0unXThHgNKYAbWV+PD9SfwTFHRyT4qznY95tHjmOU1djE+jA7yXxMe6JweujK6kO5wyJf2HnFYTRgp7ZPPNo8//HuXoBGiq2nW1nMnX8KMPGgg+aQ0HnXZ6zSvQaTEyL+/t1Sy7gaeV1xG4uYfFBpqpy+uEqEx5zQ2XOIPRj98mBev+Ie59NgHWbDldkUpopltxwVWWOgJ/rfUUqgSX5xBwgopLzJcoeOroR6/efQVWMzXpub48bQWNy+SQCe5h9WwAhUDqwUKpgyOl0WK2ScznxHUGK2C+sb+LDX/sBcRcoILoTdi0jWxhn52BhFd8KBDIw3IShJwHCKzH8lvsomg4d0LgTQddODJTXMwXiaRwjVLDXaVL25mhnnAXGT120sjYDsXQK3gNLN7dc2YgOZnfY/FqISf2JgAYs6xF3Yce7+H3tCXKzf/xWGojIDB2TcbDVopOjlQc+0lOrPSKoB0s/eNJQ3eo7sa6fPNiIctgOj5klIQByYUArHPf80i+zGYCGHl5CBFSQjvSMAXtecVnLNeXSx2n/s2ISmuemNY3EOc6SCrJTkWvqQbXnCC3x/iawDwIAuRYgBqRz/mB9bDSp0UAIHF/0YD7J5WotUdwZf/3E13HvkcXJMmKx84l3fkdUcQ+XUngrMLRjCWbhYSf/S9NOTfqVk6wv6kRaERGFlR/i7Os954kAW2BplYLZbHhtNklYYxtRVQkskg9vjMR7r+IB+HpXrLB1l6XvmcvahvcGEXSpXmKmtzcqc1ZBxKX8+yK65EFvsWTYk1tez64Cl+XtO1PuV5rQjqdlL2yC1n8ArMdD1Ta4gm9KJD3d1sO69Mw1I5xL1UUCxYSSeJZkQ+9XXVli0/Vvx/m3ZJELOv/smyKQlpmnbpXaEjpk7aHFiWiwdlZwP7nhz9VJW5Q+TfRDymhMmpWsUud52oBRzOvVyyfSgdGkLJ0cNr96Axq1e1RA1wU6K87/LxTpe5DXfkB9kBc9eOekFF39nh2FDj4BYeE490ybPXs9peMsSanzuSd6dRe6Flsn5tG9khi00nd93toPRpg+cDZurptNYQbEibFKTIcOG8dyWgi1yVNe2Xjf6Ugg9wWGvI6d0X0L0Jekao07etAJS0HImAlLVZj4U0WilCx5I0XYPhWjc56Kwt0M93yBBUVqSev3SoevjG5CJPxTAZsREU3H0ODiHZUe4ANYYHcBQxcCY8LLIiH4kkPe9sci7d8tK6CaOt+ipAbmxRc8tI2APAsDLFi+I4TI6Tg0kljds+f1e8tYwwhZLdn5596ZP8dorYo9TrCA3ONUylLEHQ8Zme5YSIHMtJaZ/yXvDeCd4ajqmr4KD+r9tAoxelP0ddM5Mjjbc9A9ep8Yuuric7iQSZYU7SB0i7mjWqpYp3f/MF7xiN/7lMfTHGxLH3Sc6nwPMUFTxahc5uHyK7VCDTkomZHfwJbZqLb25rI1yjRujTwJX/OB3nOxATGbZ/im+6MREpzN8d51thuE/UYXTVo/1dJY0yW/QoAWgdGi3Lp5HE0A9GF5jS8GSR2dwkqzgG/nKFyfUhIZLlISgBm02TXNGzsiLkXJvZxF5KoWNx96lBnlghBm2dfpChc5bVp1wpDtKWOlR0UkL7uoicrVqi0G7B6TtquJ/HyHkmhLlGY0MXldfoRCgsws8zB5LI+eknGIzNp8a+uI4fgZuqmbXpeOIucvIqSn1GxQ/c2Q4BUxfLMJuV451l8/2z4mMzr21wXEQi0FisAX1zqZQp9V+zjOahykA6XQouEBwaYi/+U0iZ7KDpL8FwT0N7bDqiNV8W/ikf8+hA+YdMSna4r0Lhy1zDxnIg/GqepxNmYudMdJL/bjpWRnnvSMssK7wAlF+hg9tgtEew/XD37jDxVMno954+rOQjzQO+0Yv/7EpWmxgmVz2CvmMpW/6azidcRafPFVSMq/lpOxCQkVq5WqaTD0DsQH+zizHZY2dfR9z9G1ivL/PcDLmKYxpitwdST5QsKJS22umhgkKnZDhoJTRMRFnTlpXxh+r8Vuxf0r57AxITAFQAOXpgNdeYUUrOI+wiK5BItukkRKg9hAP2y78TGImvzXGUAFTYOzKGGLOYxo+E3neS13onmGS3pSSWqpPSRzBf1tOeq/w/r7r6fI9450FzkvWLZSGPoK6G2t2ulpMIDKZ5ab7HYu/gBETGb8m3AkQTHX5pu/65/crHrwm2FMUv7vn2K6By7KmjCyFB7udWJFnCPeRm96cbk7+xqLnd/o1hBClB0Qe5ah3Fowg8lbcbVwBhew+TJ7Jq0Airy5SjrGoklgMqMfb+zTxp0A+MGGVHwVnKK/jnaKYXL26oz5UkXLy80TjUxEaW6fIYyKBSEOmY/LKidu4Sak/9YzMZjVA8QGiWfvijKtEtt+q5ZOYORpHMNwEqdzh00TXwFPKd8f7PTottrKTLhnQakLAltAnsF2JqU7qkq+0M3EbfK6Q5SAgfsI7cgDvBiPjSbx8R4wBOYvPNMVeKE8eovr/b8qpJ2RYWFNvfAkGRmbS0PJknOjibGJPKpodafKW8/kP3LTfUAmbbouDbKDnCVDyTFhfqAbngkSj3SwhX7qdNGhJt+VlIBwFtWo4lIWycdu35yG0TD3+E3T39WAAxlUhHNg9X44gnADZ9OpvAtjN1CwkPDzWPG4YGI3ZV+Q7FEDx8jO75IqcFpotoeG3YP5UXWYuhsAEIRI7coMH5GEJTFWqG/7HSi91Y6oW0dDv6V+cgR4vdvZ2ZmtM8U5iFUGap0pnfevTW6ps39MZB0uOLzC0ElRSNJBHkeRa3MF8ttvzh5nD+fWPpsAC51pXv5TuiH7Ogv2v/VgszNPzL+mQ+rMnjjfNWc9jJ5I7LWH3mClo5EEGtD0sVqeTnjKo6K4YTnLEXeppQnbWxeKq4LRKr7II21roVszqWis59O44HsqOhexnKFfByG5rv6vB1mm4/I9p0Fv4EXOo+Mk5KiVEm32FKoH2KzvXvVGNb4a63aRU+NfmNdMNMPurb2fhTeIIR8DH3FjVrOfTxHZUq5TzYK7PNwHEd2QEKWKaoopHtXGb7TXMdDPZboQweGk4wXc595jczi+iGJBUklXuFvIUKP4K3hGJl+Dcp6/29YDXBAXIBCjU/bM4/5EYnQfmhu618poqzTl6zq0E861Jgk2B7ihDnM68WtVMI8MCwAkcMLRNqI1AlFeSvGM0hgn3AEtiTweNX8KEyZRY2W0f96cskmS7Qoxojv79tWM9dtopxYJvpXj4GK6lVz1cJZ4Umh2rAutkQGLXOOFrcCoXzh2KPX2UAWdDszOGcHeabU5YJwRE9wO+8/pGGyiS9fUKXoWYewUGOfEQH/1w2Gjti737mwJOHwPiPYXH98LM+zX8v6g9xA++XvxwXyKWTUlYYEBye/4twJqEzfCU/MN4L9pi38lVHFoo3l71qexeIVWVqweDb9VEk4MEQIlcVO1jx7DVnkeTJnvZIMlt3x0GwtLZ7RcP9MEXN+ylg5UeXIMeFXYaxQ6AOxaOtuMqLOWG/c4rhwtGLoRJvpBbt9Ntmg77lyRWOPQM9Hc/PXuRK3bGJAzEA8dxLhZe2W2m/np/ThxIJjFOSGDtBW4kYtds30RVCN9DNL8GwUtJzEgo6UkRY+tZJJZ/X/irbs3PrToAW/MKYlyUeJEBRRXrovBrz8mWcALwX9C/h3VdtGcEMPjXr9QWvTZt2AVD3BFWi3DUhFwtSP83ja7Ldla8EAG4zksT+H8xPchIKbxNj42Gcvi9BrblB2TzN+wRY7Xy6C2uWu9okD0hG58c21OBjgQKvnXIqbtzWN5KNGs02VW5I2x1FJLaVq6wg40KAHXezd2uBU6iRjyftf3BIC7/yWNTgK+NuVCeVutlUSSqbsm3KcQLoaUrzETpLMmWb3v6OnPCS3ZuGEcRFlglta2ibk12vOzIv8pIxQ1CGUXFRSrSg/ynIP/T+5MSXyMhdplPFrcl85e6B9X8gdpk47nMJD+scYcq1UMPE4So/1Egx440vbEvcRYUPZaP7FKskLSIZIz/Wb7Ye4A51De73vMG+ov2tpQn/7jfZ05jW+15hOCjEdWMamAYz+j7G2cCN0NQo7bN7HgtgV8st0QGA2st8A2ecNpyI+NeDLo73MilqDxALpsLL56OWEg1qunjykhInqL9Rq+uEL2NsFJuZcXE6y8dqLRnWFgwD+YuSPDbx5tAy+T5mSsW6nsU9Pji701fNtleZCryY3JjySf0dFn3ZF58+k3s0R90Jt++BsYzhAfUY19fo5L9XbJ4U4xKTqBzCH5qNkEi138zshPmdeSlvOrnY56WU4e3d25pnAH5/wrmtT159DkZRvp+7/sieswHshvm65xKVz9oy2MRy8b+pPoFgIfqvV/i+82zdFqvs7W7qIVUkKRVyNKZZBSHBAZf1jlVFH27wA0iGLuMfwTg+nOvjyF5D3oiZxHaP/9ptSi3BvbSGUmy7o0IHv1P0c9Xlc8OXjl0PGEZldJmxVRlvR2OfNIX1SdsbEy5KhfpxK0B1BJA7ZsnENx7K/kfFtGSiaFuhjktZ+hap3ZtFeZcK8nx2uw08jm3Yet381XsCUZSbJktCtjAern1kPCzguVmbxZXxIWsugJsGrlm7DH4JEAt0a5C4Li1M3NDZPGEwq8Qk9NTEWSUtBpTznpw02YSKqKt7ruwaVqps7JFKoPaUIzKIpubzR2q0TSfTwkeq/ejc7rPF5fis6BDOaTydK3HXuFo+eS7N8T6ySw1f6/fU3OCu9gFmCODaKyhfm+C3j0SIUcanGdDguU4laX6Lch6sbxZEMKRjJykfyXWsUasf46m7l/ugVGrhrY/w4DGiNVaDbi/YsmyrKUR91iA+Weeu8suEflhRd0jJT5TR+7Mu0icQ8nfwzoAc3YtxKQd7jEQ4oOJ0ZXqvRYjj93mZRun0iHeG5yalw3lUksnTL7iaCSk5ju7emAxzs44vSIBYjGt2Vqg/rN2Eoav+tOFoRLVwwWsXe31l/iLj013XCxeGR7SDM9dCIhSiEdH32zFXQG2wuvjjUANq9SN2inQRJBrRA74WwCp3NDCPA1YPSkYfCrEf85piHabj2YudS+JribyDG89VARPhhc+56Ghn+UEWJS6kOjHkMeEaI+HS6ZD66KRazlnbg+UVu60Zmv5+eyAN5BgLf7mlGLvZkMSyP+yJxoGTZPj5LTkQM2fUWHjIAvLIPn0my8ROthuznNqZA4J4DNMekL6kzlAGwwYrsA3YaCGI6a3a+1fQWfMxOHV0ZuHKtPXrkF31IjAkr+CfKx5rddi7Ergj0vwYGC8NA8f7gKnP4g1WP/UQFpHKaQKDeY3S+eQ3mqrBh5YIFxDshAUJ1lbPjyD0CFhE2uwD0kbBXrti7odGMWuNenP9oL1Jq/1h6zQS5tD450uZrpkQ6RwALd2oaQrT0Im+7JOI1TfpD8P/FehqtIHAxDQl5nWtlwEkDWhM0gfOWdeomxswsVR00G1AxxBpAi3zMQZmblnC5MSkyn+FsHw9N49LClwbMccrOwnMrhSLVeWTpkiwgrc/bxsFGxGU3rjuO03zH8aUelK5haXG+yKaC6WRP3yKW54LjC5HNenruLkQ3/dRigHfeHz/SQwI21KEMzlNfxMCBVdpOhJVayLY01G8VHddgUuIDS28vvnfa8u+T2H2ny7aj74UpvsSUjWCoFW2FGc72h+AEwMj2mELSu7E0ISphIJAFd1g9g0tUSEE+syuLpqVgQr/KcB9lHhgMlf774wqX6DPoZa9fKuNVp0Q9ByOkrkBXoEYtVwrY05ptcXeew74LclMoNfcP53bkG1T3GdrP5T9tcW7Zcg9KiCJccS/i0U8Lt5TaapDJqukynGPKwNeWoe+C03hmrLrhqwz84P+6kxYbmXdNgV6SU3FcqkfQHVIJIkmWGcTMe7kdcAY2snMcX4u3p7GvLdg962gk5a1w+mJdTkl3zAKc9lxWoCM3ET7/QxvIn3nT72C0+EYDB3NtWjYwcGVAKJpn1jO4VOXNgZJkRbKkohDOoQmsK5cJVLmghhWYdZzF98UMi+K2Z1TpF5EpN6PPGz+dBw8qFEN0ANDtQR7qfLp8pG4ms4gGXPuK/gqM7wIBXaiwOWvcIjqrJLOG8y7yLLwLk4pl6Y98lMJKCwaYnpWEmsWpJlrLBfSw6TPgv83jmumivd1FkNfV89+MlAfaL09Ch+XQznfmOxsCnsophpMhhiPrk4eJKIT90nsh8lmRRTeStgMEFPskY+DA3NVBsC/AdExTNwdhrxhPrTb9p0OcsoFYKMee7Lu7BZjmEQFE2XcMnBzwflExEvDW0TilS+LFdqNJv7h65y3/MsTuHbBZy6N48PgR37QZlHmiH4XS9moapPeJo6eIFwBbaQvCvhKLVMexqvCDOvXs814k7+GTq5Sk4EU3QnYagcSWu+HEQQkWkXRWtCY3TqINhntk+aTbMtnH3R0ZnbocN5UdWj3trNs9POk6F7z6SRVpl/+WNwI/XlssossdhW58dxxj6RknRD6KG/tRgDs9TNTXPkuyGQ088dxb1j8uObN7pfks2lQD4VLj87OxktmDnK6vdkwE86IoVxuCx+2c6JAoqUrxSMZfsxhb/ZxaYKhNcNUEmD2LgnmjcHmXxUCEtu0M+xUcNkjDjur1dHLI1E2qIkU08F+ZUPM/+q0lDZH9SaHtGMCABOiQVBVx3oCr24lJtnyM5x7d4OpWewJgLHrtly9H0EW/EWO5b41pp2ncjgUItZbQtm+arpM0yvRqGPRQ0ju5N1/8SqZ0z2BeztVkJM5vy6tKhF+RX2EemdZW/AcEEN/9ctRdoWGn+mmZmugPfM1159YoCWXh7XuKcxP0P0M4cV8qk0KWHezlfOAG4NY9AdOspq2laLpD+f11UR3sv/eKP45n9YKZNf5RNHeXmLS2vocUYDu0mz82VlJYVR2tZup7HragQI+edKvYgPuFoMOjlBNk0v+tNYR4QFK/KVdCCBz48iuP5MZ7/kq6+fZ1tO/mVQoHHu8/ormogFnKlUJBI6RN8SZSh8zCdRkTbDcb9KYi46enXfd2Ak5YIUDMBYXt/mX5f2OgL12UtiY5hWUirpns5OfmeT7QeoBvE/Ofg0UV5+hBiYZeR2xTySlHZPgW0W6xow0MJNN7ECew8qnslcR54J7hC3tScFfPiQY2AccT9GbhvoLDgN7+v4+6VQ8mJDhBC+sqb2e99iKxx6/ELiCZE/2Vzw6jb+ZxpmgAkoZIHoXvMmG/PRGZEZrfuEtszrIXrxSP/0s2PttInl40Yg27b4KRZeFYon+SfC8vfWJy9UtXKYYrzyefFIBlnuEGsnz7kqfuhJohwG2cf1OHV+wRRFd+jd4vePqr50GM8T0RTcPBU3tW0LjQA+I7xN4XYINlevOWl95R/E9R3hcafhssVx1NubKsLE7CgfQKEgzyTFJLuarFvccyCcTwuBLDjGnsfHwtrRzCGSxFIUJrkMxZb8O3WePWxrZRZPgBn1K8ZtZ5SKRItKhYUyFPhTCe5+pPUyJLn+OAPjFg3F6SwxvRIIpdn2/PacL1HSmDNJXF4fJ8yWiWBmh6vr8tB+JYkb6UDkoG6q+15k2DDhXQtQEV75VkVgvZ/8yMP0fuvj3d9auDE78Bwxqaeh+VJw2mQEwUANK+WTekQzMn60ezvVj8qJjYUcBzvJ4EGopSgkN2Yfxxo7lQhyfmj2mFx3ZZ/lARTTygkTseBVKOxHn0/nD3Vh0yiJdmztJp0mCijatetKV/4wFA5HNzKfoub2sMBfZo8ZQjowkX6WOdj4FwT1AIWm2Q8iJXySXDzirW3TJW5kGL493uIcoQl9tPjc5cxc4ndLDeJcZQYZgKsw4ROsztSc0b/J6ijwnKO+dZSTv6Q5PtQ4bxiujvBrbV0UFLgPkZUyKnq9h0+JrS0oneEuSk1xuXtFyINTN5GWjtclrIcn2ZkIpPSlyrAOHZ3/ZrtCLVzwUWOlOC+JztnhdB3fstX4yPGWJgM/iNq+cDimOi0Au7zjWygSzALd3g+x3f8WyT2nyJBCQuxrLtSfH1QKB0eoWFXEXmzRmRW2YmpfkyrcZyJnW5lQJH7HW7nz/PoLr4oCIC6REAv6qDLOUSH6u1LvMBGC4WGopd328vFWGwp00c1ZU+HXlPMDZy2vVTexdRw+3hQ2ZY2HyG83JTw4PSwAWphriTxhsKe9AitMqagxvoHYVRwAaeUQ64EHRSECFBJ0tCyRkZ4Imk26UT6FBWKcFEUQohKe+eRCs35CCc7ENnAVQE+cjIqvwHgL0hWEjcBsVpzbSX2ZtLMyKPfpAJPhE8TMzoVm2E7LQn4d3s0tN616cyEanLsRaIQzVciat7Afa1TUmVG++k4CFizl7ilNtwounZxAY90+UAih1CCkR5QAR8o9maFg+X1MINl1T3+0G2Kl5Tl7kmFkrYa45x8/zgTZDU5Ui+/MeirOZaUlqzjEOU7d9qLw3xHAkxaO/wmQqIwlWIO09tyeNCApUdWKI017FzuP0PqQ0xJSBdrSy/7HEbMry1+9IrsB1ez6Fahe3UoYls1R9kOhRuVe4n5WYDjzCgCYGbgMXA52y4SfaU7OKay25rjbapesO0Myp3IGWm5xExrmU5h8A258XSpW0g8ip2RxVu9iq/MobxqIJ7TGYJR0n7ko6xbzJOsO8A9TlOt3T3Ic7a3256ewuVvLBUrKTrSJrPYjQCYWKDLazeDDw/b/7CMq1WXiAYfO81GAGwlu3O0UEzDSfKLd5q1NazsLeeai2iUnIqOFxfMBFOjL/mpE1+nK8FyuDVIyeXWzElTKJXMb7180JKcyAAY8Rh5FiLFkB+MwZGmWFq/PohZyJ664h/Y2U5wvqpfUia182gvD/X9Zcr6Dd/DzCbZH2ltDoXRwjoeVhFr0Cujic/893sCHxiFZZNEPH21Zkj2mCVZw6+we5QS0OBxmI6aqhFK+7Tvk+3OQTewmyWtkkH2YoVAQgvJi/VAKT5BxHokhhYNxknoOcpxpy6ACanzl3VsCjyQBWsCznB8inIfpGBN3AtGkEtn3Q8budodFCfjBBqzhc+gscRo1xBBuvw0iDE43mOXXLtCAXpqTDrFCcQ+g+LLMuwXchDV8b35Q1bw9NfACk+6oiyfjAWGTnxvb2eyyO6LyXmhv6lg+m3fmBZOXY3CKwYsMDrA2k93chK9ET56A8OXv6xDZP302eCHtWqAoTw6uvAYgBXgBZL3qrFuMyju+zUVqD5Eb5oGJZJ04yU/qfmWTbeVUTwwQn9V/fvGh0Ct3175NmJzlH9gK+tosGayEon0tMaF/Xg5uWLHWKUYuiXqqahbGIsrMt2SnAQZ09TwQWeEsvKFIxgs8lNEByyL8DVFJTOxwtBa7hNd1rcWTOEKhy3Uqz3Grp7IBYWxlf6KIgvzW3Lv9H6Py5V4d2LJJR7BNKgat3JJTgLosZ+m2MKqbxndCjsAzH0elbruSkg+fyXhh+GOtfK4aR6Xqf+Mxp4vY205yJooju3y8xe2qViwthmSQDX6+aFmf6xL9VqjNaSfhZbdL/RSLuPsaS09W9HI2IMvNivfD0kzCxPCnJoLwYsUYpIdc6L6RiBOevd8eDjv8hq2T7CegteH4jibu9fmyoBoWaCChsUyE91inqxbElu/K4raVpIYkeK8D0uOAeUxpozZciM93zL90eCs9EgOdM44RUWTEhE34obKQG/WoInH4tj1mtjSmrEB4eLLemxESxAkJbXnx9GvN1j0t0dAowG3REaOjbosjtxHPzZc2uPhoNhD/HSvLfKk/GgouXYA8aM/3b9TEx0Ewjc9dtA/asKMdnP0a3WeriuftSPuEe196HlZIAjKWHDL68Jd27NH8N91xwj9DFGkjW/UqXSxqQt61VSAPfylQ10ie/T3sMflzFRGcqs081bGifkh3J1qg9FxQcFFtPbt2zvH5bRJ41ZGVSNiJeGQe3F6mFD91QnXNPbaw3RDUSIsoi23dqdmRXkIJSvjxYjM4VmESj0E2zeIXlevUBInM65nAbGQgVD/TVsZ70pH1h/PDXXbVoWNtz1SHEpQSG+rLOUVeaCzOmYk4QLORNrV1Hu9FurBQwEvsxjB5uNnHr1tZMn1l/ICoBK5TawSoQJY4RubsivFJSO6lLZh+LeEeNe/nC7a8UpkxFQJxKEk49Zs+f1OAJlGccAm5gm2O88M3frB/nJKRPThL+5RwYUai0gq7cKxP7GWgOmys5tpNeC6JrwP2jb/dvRbwfNZ/KiuNXmbYNcnAHLXzdOow1OLQUk0RXGEnFDrD07C6Wd2lrgvQmRowPr3kVtqNTJ7cM/cn/m2HEmgV5dqDglsrZ1DhFKzZ/D6GUG2uJD/mh+NbdV/ZjpLULxGXAPQgJFdqcXatPK3nZZdoBpOLisnPbSXsNuAxh1s0migE+zgmvzwL8nrXMPV/k+hwGVVWCsnzZ2vkkVEKHyFiUb+v4TRvysuunsvxCyBi2XiSpQIlITw7s1jQJrzr4XiopUG6lbdhybGNqLjGv/Bn9IXD/NbVALAkVe4doI4KLBCJzKtHiCvercu1+f7XIbPoDceXjrU1lqpVUKYs5P6u/4Sy+0Wa5ePqcCEtSXcvged6EOVd9MiqSO1Xs+Rpv2A2Y7VRtgdMyd569TDLAIzf2ftcxz+atXU9KxIvSuUuNCx3EIjMSD/+jwhuapUe1nPcldojAGarlVJwPXzUNXXMhJMEs3KbC9ADqFCLaEKcZg6P73qOMs/fBXdZZ3zV7I7RbL/cpA1B8NoMFF6O6cjWekWGIvsM+cT1XokJEk0PG0R/XSE3VTBzIXRHpBxfgVFKQHgJRLjiHQ3EZfg2t5xXSRTuuMSqHGwypdmDGAnWJ8hnBE0HAF3C8WoVenBKJ43xe+1Uvw7p5fZRbTpEl8PzaoF6zPb0K6gTQxxBlje2rbhXG+Bx76DFAXG8wONiegHvvMpzMXA6rkUmggMxZuXimGFX6oRfATZD/INkIDacZMUWWOMOevhF5NrqKBD2wfSbPbRmkUoTs2ssRZAD3GTIjshQgpgVYNU+yhRzx6NRoxqf1aFAcqp8YLHuS0gdLH/VWvMr7y7ZwrHTar8f82NA39XdfEr59C81uZ1HJKzhGHA6LhHxowB3YDoM2VNbZqw02YrecaFFgefvr0gCsE6HC41/kvWaAQvVRb8QIxrIfnAYvcv5sDN2cs5TzvW9eRPRLHdPbKFA2zpSALwf1glpj6wm/YXz3TL17iirPy3CjQxx1WzpyELycWIATYSSM4u64xorp908oMtIlCKIPBz1gXYJJGiVIgVKiDS+7UrUQUHl6frAR7uaYySuN3WoUSp/BHO/tSSRs/bMyjl71QdAB0+R2SMc/TVA5Y1PaSIDMA3L4WmKfCP2vhsGJEj/gUUudRof4C11clleN9aN657KidkGqOE2ovP2TUIbOWlIoXkciqd9ggbtQ+8GK29QhvFTf0HzI/GwnWhUDgfc0crwviWBpDouj2i3yPsrHYU6UhAf//FlU+RYosmbntbqz/BMKuwXCckxDLPKcrcYEM2FcHCs5DecAVaMgW11fqbLTnwc1vEKCEmFhdyomJDFznCgYip4d3FPcad7PBluH6LndDJlLMxH3Qps+2uBsU42ftMdDXgmAN1iArdGHEDsP19kSAqHni00leL/bHsE1V7ab7vEU73nweGfnBHXTrqbMOZV3RjiLdFNYhVsXSnLLvy2/c7Fyis8szNHLJsSndV+UaKrf6AEt1LXMBGQ2co9jMuGnvC+Q05GkX84x45F+pw4umKQq1FEkGDxCmAU913kmwGFY2inAIpjBW9vBQu0TEYAyEX277Z8Imj3sGBAnISrnnUc3Vwtr2L0TA7yk/B5abvfGZL0IdXe//GNxd6F9fgb/Ll7ScayfRWX4C1PRXE7w1JuxRuRS4kKP2fG/x8EbNZ0JgTj0SWJKcfp11fc94BxLA6sY0Fl7xsHL8/gHXLTO8xtOcwcFthqnklO3SiAPKp0YXpNFxfc3Bety8l2mBsjPxQ+Uay9c2e0VeNuLB7QBmVdgDYLDpjTDUYY6fLEtXs1aJ3zX2mPsedf69BhBYzqaf5g8jR0vGh/HIkMf3ErRD+QQRdF/zXo98oxKPffgHXTBTgNCM58h+Xe5d1Y7MLQBr9zDvv5YZQPPEwuLEsO57LrNYhpvXSBuV334nucuRTXU3gSax05BMUuYDSGbA0xFs5jsfaepS2SmoOmslziBxytF7V0dEKfyQWsuCTAyn2JktfXvkmWRCyBAYVLtd5z2HIcvrw7nhNjQKBURDp4XpvnfZdDz5eGnG7PAB8IVfM2hR9WfbflI02+Okkm6Jy68aklsenqPvOvWFiynMv37h2X3ydn8PWB8SWKqwZDXw534CCsEyLafY62FFjzcx3Jl//EB4CSiZHigfZsx14ETBod268e3TxyRLthJPqwf4fhKrzH1vWpXmkkBT0QLTXVyhRF6T+fGQ65KJ1hPn890BkWOApKIthZssq0aoTT6M78b9YCqEvTthbv4IcDwM9ntIxKiFvFOmavChWnm/aRCxjk9zbOpHCydOoe2DXIE1Vh/GKCfPK4y7K4S2fRwonngoh4C5WbdRAJsODIHdXedL1DKhchw0Uhf9VfAIebehNENbHzSCoVZJNEholPqExfMn+brxA8SgF2JAAKQNpnti0y5dsS5puhRI7QOCCFcj5gsHb58QdSfIWJPbi4Un37pgeVdaiD4OKWEg0616IKX7gM4jz40YEkKTFY35QBf/Asd5a1Fw6CdHQF/FL00yAAj1fz0Z41C301dshCRJEQLA1N/TawPISANJ1Zrjx3yoGdxINjEeqyhIEBfEvu88BJezn2J1KaMsMBlbHSayT7gB2kfSM2cq+PIBgFo5Fj2bTdSKTUdDqCggsuU8UJ9eptKOQwXPr8pyzxapRX39Ixgx2RJcwBlXc4NA5Iz+KayLOLqvixUBQxgYUSUfRn+UW5Tft4CvUPq3vpTVOoNMFtiH1iTXz8tdOggGmDZfOX3KU/fOVQ0fykthXmRNc7gBZpqPKC6LSUs3oQo+Jce676QYaj+3Uvoz0meVkoOi3jJVM5Q==" title="Mekko Graphics Chart"/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3274646" y="1254305"/>
            <a:ext cx="1978400" cy="4169381"/>
          </a:xfrm>
          <a:prstGeom prst="rect">
            <a:avLst/>
          </a:prstGeom>
          <a:blipFill>
            <a:blip r:embed="rId2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 smtClean="0">
              <a:solidFill>
                <a:srgbClr val="FFFFFF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99405" y="3173362"/>
            <a:ext cx="1588405" cy="1088281"/>
          </a:xfrm>
          <a:prstGeom prst="rect">
            <a:avLst/>
          </a:prstGeom>
          <a:noFill/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 smtClean="0">
              <a:solidFill>
                <a:srgbClr val="FFFFFF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99405" y="1562670"/>
            <a:ext cx="288033" cy="1572204"/>
          </a:xfrm>
          <a:prstGeom prst="rect">
            <a:avLst/>
          </a:prstGeom>
          <a:solidFill>
            <a:srgbClr val="DDDDDD"/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ум</a:t>
            </a:r>
            <a:endParaRPr lang="en-US" sz="12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99405" y="3173362"/>
            <a:ext cx="288033" cy="1081097"/>
          </a:xfrm>
          <a:prstGeom prst="rect">
            <a:avLst/>
          </a:prstGeom>
          <a:solidFill>
            <a:srgbClr val="777777"/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ум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99405" y="4292287"/>
            <a:ext cx="288034" cy="956655"/>
          </a:xfrm>
          <a:prstGeom prst="rect">
            <a:avLst/>
          </a:prstGeom>
          <a:solidFill>
            <a:srgbClr val="006393"/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Isosceles Triangle 119"/>
          <p:cNvSpPr/>
          <p:nvPr/>
        </p:nvSpPr>
        <p:spPr>
          <a:xfrm rot="5400000">
            <a:off x="1667454" y="3268587"/>
            <a:ext cx="1100418" cy="140817"/>
          </a:xfrm>
          <a:prstGeom prst="triangle">
            <a:avLst/>
          </a:prstGeom>
          <a:solidFill>
            <a:srgbClr val="CC0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600" dirty="0" smtClean="0">
              <a:solidFill>
                <a:srgbClr val="FFFFFF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959102" y="1562670"/>
            <a:ext cx="1156240" cy="198278"/>
          </a:xfrm>
          <a:prstGeom prst="rect">
            <a:avLst/>
          </a:prstGeom>
          <a:solidFill>
            <a:srgbClr val="DDDDDD"/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ум</a:t>
            </a:r>
            <a:endParaRPr lang="en-US" sz="12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684780" y="1562670"/>
            <a:ext cx="1156240" cy="198278"/>
          </a:xfrm>
          <a:prstGeom prst="rect">
            <a:avLst/>
          </a:prstGeom>
          <a:solidFill>
            <a:srgbClr val="777777"/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ум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2410458" y="1562670"/>
            <a:ext cx="1156240" cy="198278"/>
          </a:xfrm>
          <a:prstGeom prst="rect">
            <a:avLst/>
          </a:prstGeom>
          <a:solidFill>
            <a:srgbClr val="006393"/>
          </a:soli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</a:t>
            </a:r>
            <a:endParaRPr lang="en-US" sz="12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0" name="Straight Connector 109"/>
          <p:cNvCxnSpPr/>
          <p:nvPr/>
        </p:nvCxnSpPr>
        <p:spPr>
          <a:xfrm flipV="1">
            <a:off x="3431060" y="4617830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Rectangle 23"/>
          <p:cNvSpPr/>
          <p:nvPr/>
        </p:nvSpPr>
        <p:spPr>
          <a:xfrm>
            <a:off x="1260989" y="3283617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260989" y="3581835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260989" y="4692215"/>
            <a:ext cx="107107" cy="123368"/>
          </a:xfrm>
          <a:prstGeom prst="rect">
            <a:avLst/>
          </a:prstGeom>
          <a:solidFill>
            <a:srgbClr val="002A7F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it-IT" sz="9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260989" y="4573672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endParaRPr lang="it-IT" sz="9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260989" y="4450625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it-IT" sz="9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260989" y="4310073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endParaRPr lang="it-IT" sz="9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260989" y="4131090"/>
            <a:ext cx="107107" cy="123368"/>
          </a:xfrm>
          <a:prstGeom prst="rect">
            <a:avLst/>
          </a:prstGeom>
          <a:solidFill>
            <a:srgbClr val="002A7F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260989" y="3968776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endParaRPr lang="it-IT" sz="9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260989" y="3782723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260989" y="2909139"/>
            <a:ext cx="107107" cy="123368"/>
          </a:xfrm>
          <a:prstGeom prst="rect">
            <a:avLst/>
          </a:prstGeom>
          <a:solidFill>
            <a:srgbClr val="002A7F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endParaRPr lang="it-IT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260989" y="2357972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it-IT" sz="9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2935025" y="4694363"/>
            <a:ext cx="107107" cy="123368"/>
          </a:xfrm>
          <a:prstGeom prst="rect">
            <a:avLst/>
          </a:prstGeom>
          <a:solidFill>
            <a:srgbClr val="002A7F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endParaRPr lang="it-IT" sz="9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4168026" y="4548512"/>
            <a:ext cx="189748" cy="123368"/>
          </a:xfrm>
          <a:prstGeom prst="rect">
            <a:avLst/>
          </a:prstGeom>
          <a:solidFill>
            <a:srgbClr val="002A7F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+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5398317" y="4203389"/>
            <a:ext cx="277811" cy="123368"/>
          </a:xfrm>
          <a:prstGeom prst="rect">
            <a:avLst/>
          </a:prstGeom>
          <a:solidFill>
            <a:srgbClr val="002A7F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++</a:t>
            </a:r>
          </a:p>
        </p:txBody>
      </p:sp>
      <p:sp>
        <p:nvSpPr>
          <p:cNvPr id="173" name="Rectangle 172"/>
          <p:cNvSpPr/>
          <p:nvPr/>
        </p:nvSpPr>
        <p:spPr>
          <a:xfrm>
            <a:off x="2935025" y="4580171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4168026" y="4439266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5398317" y="4089197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Rectangle 175"/>
          <p:cNvSpPr/>
          <p:nvPr/>
        </p:nvSpPr>
        <p:spPr>
          <a:xfrm>
            <a:off x="2935025" y="4452254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4168026" y="4306404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5398317" y="3966227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2935025" y="4302926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Rectangle 179"/>
          <p:cNvSpPr/>
          <p:nvPr/>
        </p:nvSpPr>
        <p:spPr>
          <a:xfrm>
            <a:off x="4168026" y="4153113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Rectangle 180"/>
          <p:cNvSpPr/>
          <p:nvPr/>
        </p:nvSpPr>
        <p:spPr>
          <a:xfrm>
            <a:off x="5398317" y="3812936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Rectangle 181"/>
          <p:cNvSpPr/>
          <p:nvPr/>
        </p:nvSpPr>
        <p:spPr>
          <a:xfrm>
            <a:off x="2935025" y="4138311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Rectangle 182"/>
          <p:cNvSpPr/>
          <p:nvPr/>
        </p:nvSpPr>
        <p:spPr>
          <a:xfrm>
            <a:off x="4168026" y="3986331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Rectangle 183"/>
          <p:cNvSpPr/>
          <p:nvPr/>
        </p:nvSpPr>
        <p:spPr>
          <a:xfrm>
            <a:off x="5398317" y="3641208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Rectangle 184"/>
          <p:cNvSpPr/>
          <p:nvPr/>
        </p:nvSpPr>
        <p:spPr>
          <a:xfrm>
            <a:off x="2935025" y="3970063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Rectangle 185"/>
          <p:cNvSpPr/>
          <p:nvPr/>
        </p:nvSpPr>
        <p:spPr>
          <a:xfrm>
            <a:off x="4168026" y="3822476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Rectangle 186"/>
          <p:cNvSpPr/>
          <p:nvPr/>
        </p:nvSpPr>
        <p:spPr>
          <a:xfrm>
            <a:off x="5398317" y="3472409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Rectangle 187"/>
          <p:cNvSpPr/>
          <p:nvPr/>
        </p:nvSpPr>
        <p:spPr>
          <a:xfrm>
            <a:off x="2935025" y="3780351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4168026" y="3635247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5398317" y="3283531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2935025" y="3575803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4168026" y="3433964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3" name="Rectangle 192"/>
          <p:cNvSpPr/>
          <p:nvPr/>
        </p:nvSpPr>
        <p:spPr>
          <a:xfrm>
            <a:off x="5398317" y="3076723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2935025" y="3277288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4168026" y="3128822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5398317" y="2784115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2935025" y="2912798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4168026" y="2757706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5398317" y="2411318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2935025" y="2353555"/>
            <a:ext cx="107107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4168026" y="2201824"/>
            <a:ext cx="189748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5398317" y="1853756"/>
            <a:ext cx="277811" cy="123368"/>
          </a:xfrm>
          <a:prstGeom prst="rect">
            <a:avLst/>
          </a:prstGeom>
          <a:solidFill>
            <a:srgbClr val="DDDD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++</a:t>
            </a:r>
            <a:endParaRPr lang="it-IT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4" name="Straight Connector 223"/>
          <p:cNvCxnSpPr/>
          <p:nvPr/>
        </p:nvCxnSpPr>
        <p:spPr>
          <a:xfrm flipV="1">
            <a:off x="4703500" y="4268782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7" name="Straight Connector 106"/>
          <p:cNvCxnSpPr/>
          <p:nvPr/>
        </p:nvCxnSpPr>
        <p:spPr>
          <a:xfrm flipV="1">
            <a:off x="3431060" y="4503023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8" name="Straight Connector 107"/>
          <p:cNvCxnSpPr/>
          <p:nvPr/>
        </p:nvCxnSpPr>
        <p:spPr>
          <a:xfrm flipV="1">
            <a:off x="3431060" y="4378025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9" name="Straight Connector 108"/>
          <p:cNvCxnSpPr/>
          <p:nvPr/>
        </p:nvCxnSpPr>
        <p:spPr>
          <a:xfrm flipV="1">
            <a:off x="3431060" y="4226557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1" name="Straight Connector 110"/>
          <p:cNvCxnSpPr/>
          <p:nvPr/>
        </p:nvCxnSpPr>
        <p:spPr>
          <a:xfrm flipV="1">
            <a:off x="3431060" y="4058189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Straight Connector 111"/>
          <p:cNvCxnSpPr/>
          <p:nvPr/>
        </p:nvCxnSpPr>
        <p:spPr>
          <a:xfrm flipV="1">
            <a:off x="3431060" y="3893627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3431060" y="3702893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4" name="Straight Connector 113"/>
          <p:cNvCxnSpPr/>
          <p:nvPr/>
        </p:nvCxnSpPr>
        <p:spPr>
          <a:xfrm flipV="1">
            <a:off x="3431060" y="3498319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5" name="Straight Connector 114"/>
          <p:cNvCxnSpPr/>
          <p:nvPr/>
        </p:nvCxnSpPr>
        <p:spPr>
          <a:xfrm flipV="1">
            <a:off x="3431060" y="3200015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6" name="Straight Connector 115"/>
          <p:cNvCxnSpPr/>
          <p:nvPr/>
        </p:nvCxnSpPr>
        <p:spPr>
          <a:xfrm flipV="1">
            <a:off x="3431060" y="2829282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7" name="Straight Connector 116"/>
          <p:cNvCxnSpPr/>
          <p:nvPr/>
        </p:nvCxnSpPr>
        <p:spPr>
          <a:xfrm flipV="1">
            <a:off x="3431060" y="2273425"/>
            <a:ext cx="378621" cy="145200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2" name="Straight Connector 121"/>
          <p:cNvCxnSpPr/>
          <p:nvPr/>
        </p:nvCxnSpPr>
        <p:spPr>
          <a:xfrm flipV="1">
            <a:off x="4703500" y="4154260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3" name="Straight Connector 122"/>
          <p:cNvCxnSpPr/>
          <p:nvPr/>
        </p:nvCxnSpPr>
        <p:spPr>
          <a:xfrm flipV="1">
            <a:off x="4703500" y="4025471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4" name="Straight Connector 123"/>
          <p:cNvCxnSpPr/>
          <p:nvPr/>
        </p:nvCxnSpPr>
        <p:spPr>
          <a:xfrm flipV="1">
            <a:off x="4703500" y="3873490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Straight Connector 128"/>
          <p:cNvCxnSpPr/>
          <p:nvPr/>
        </p:nvCxnSpPr>
        <p:spPr>
          <a:xfrm flipV="1">
            <a:off x="4703500" y="3706983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0" name="Straight Connector 129"/>
          <p:cNvCxnSpPr/>
          <p:nvPr/>
        </p:nvCxnSpPr>
        <p:spPr>
          <a:xfrm flipV="1">
            <a:off x="4703500" y="3543477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1" name="Straight Connector 130"/>
          <p:cNvCxnSpPr/>
          <p:nvPr/>
        </p:nvCxnSpPr>
        <p:spPr>
          <a:xfrm flipV="1">
            <a:off x="4703500" y="3353845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2" name="Straight Connector 131"/>
          <p:cNvCxnSpPr/>
          <p:nvPr/>
        </p:nvCxnSpPr>
        <p:spPr>
          <a:xfrm flipV="1">
            <a:off x="4703500" y="3149270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" name="Straight Connector 132"/>
          <p:cNvCxnSpPr/>
          <p:nvPr/>
        </p:nvCxnSpPr>
        <p:spPr>
          <a:xfrm flipV="1">
            <a:off x="4703500" y="2850967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Straight Connector 133"/>
          <p:cNvCxnSpPr/>
          <p:nvPr/>
        </p:nvCxnSpPr>
        <p:spPr>
          <a:xfrm flipV="1">
            <a:off x="4703500" y="2476923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Straight Connector 134"/>
          <p:cNvCxnSpPr/>
          <p:nvPr/>
        </p:nvCxnSpPr>
        <p:spPr>
          <a:xfrm flipV="1">
            <a:off x="4703500" y="1924377"/>
            <a:ext cx="383855" cy="34904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6" name="Rectangle 105"/>
          <p:cNvSpPr/>
          <p:nvPr>
            <p:custDataLst>
              <p:tags r:id="rId11"/>
            </p:custDataLst>
          </p:nvPr>
        </p:nvSpPr>
        <p:spPr>
          <a:xfrm>
            <a:off x="355513" y="6170205"/>
            <a:ext cx="871366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1062038">
              <a:spcBef>
                <a:spcPts val="672"/>
              </a:spcBef>
              <a:buSzPct val="100000"/>
            </a:pPr>
            <a:r>
              <a:rPr lang="ru-RU" sz="1600" b="1" dirty="0">
                <a:solidFill>
                  <a:srgbClr val="008000"/>
                </a:solidFill>
                <a:latin typeface="Arial" charset="0"/>
                <a:cs typeface="Arial" charset="0"/>
              </a:rPr>
              <a:t>Одновременно будет </a:t>
            </a:r>
            <a:r>
              <a:rPr lang="ru-RU" sz="1600" b="1" dirty="0" smtClean="0">
                <a:solidFill>
                  <a:srgbClr val="008000"/>
                </a:solidFill>
                <a:latin typeface="Arial" charset="0"/>
                <a:cs typeface="Arial" charset="0"/>
              </a:rPr>
              <a:t>открыт </a:t>
            </a:r>
            <a:r>
              <a:rPr lang="ru-RU" sz="1600" b="1" dirty="0">
                <a:solidFill>
                  <a:srgbClr val="008000"/>
                </a:solidFill>
                <a:latin typeface="Arial" charset="0"/>
                <a:cs typeface="Arial" charset="0"/>
              </a:rPr>
              <a:t>только </a:t>
            </a:r>
            <a:r>
              <a:rPr lang="ru-RU" sz="1600" b="1" dirty="0" smtClean="0">
                <a:solidFill>
                  <a:srgbClr val="008000"/>
                </a:solidFill>
                <a:latin typeface="Arial" charset="0"/>
                <a:cs typeface="Arial" charset="0"/>
              </a:rPr>
              <a:t>один </a:t>
            </a:r>
            <a:r>
              <a:rPr lang="en-US" sz="1600" b="1" dirty="0" smtClean="0">
                <a:solidFill>
                  <a:srgbClr val="008000"/>
                </a:solidFill>
                <a:latin typeface="Arial" charset="0"/>
                <a:cs typeface="Arial" charset="0"/>
              </a:rPr>
              <a:t>RBD</a:t>
            </a:r>
            <a:r>
              <a:rPr lang="ru-RU" sz="1600" b="1" dirty="0" smtClean="0">
                <a:solidFill>
                  <a:srgbClr val="008000"/>
                </a:solidFill>
                <a:latin typeface="Arial" charset="0"/>
                <a:cs typeface="Arial" charset="0"/>
              </a:rPr>
              <a:t>, каждому </a:t>
            </a:r>
            <a:r>
              <a:rPr lang="ru-RU" sz="1600" b="1" dirty="0">
                <a:solidFill>
                  <a:srgbClr val="008000"/>
                </a:solidFill>
                <a:latin typeface="Arial" charset="0"/>
                <a:cs typeface="Arial" charset="0"/>
              </a:rPr>
              <a:t>из </a:t>
            </a:r>
            <a:r>
              <a:rPr lang="ru-RU" sz="1600" b="1" dirty="0" smtClean="0">
                <a:solidFill>
                  <a:srgbClr val="008000"/>
                </a:solidFill>
                <a:latin typeface="Arial" charset="0"/>
                <a:cs typeface="Arial" charset="0"/>
              </a:rPr>
              <a:t>которых </a:t>
            </a:r>
            <a:r>
              <a:rPr lang="ru-RU" sz="1600" b="1" dirty="0">
                <a:solidFill>
                  <a:srgbClr val="008000"/>
                </a:solidFill>
                <a:latin typeface="Arial" charset="0"/>
                <a:cs typeface="Arial" charset="0"/>
              </a:rPr>
              <a:t>будет соответствовать три уровня для тарифов Бюджет, Оптимум и Премиум</a:t>
            </a:r>
          </a:p>
        </p:txBody>
      </p:sp>
      <p:sp>
        <p:nvSpPr>
          <p:cNvPr id="138" name="TextBox 137"/>
          <p:cNvSpPr txBox="1"/>
          <p:nvPr>
            <p:custDataLst>
              <p:tags r:id="rId12"/>
            </p:custDataLst>
          </p:nvPr>
        </p:nvSpPr>
        <p:spPr>
          <a:xfrm>
            <a:off x="433491" y="5431381"/>
            <a:ext cx="1948988" cy="205184"/>
          </a:xfrm>
          <a:prstGeom prst="rect">
            <a:avLst/>
          </a:prstGeom>
          <a:blipFill dpi="0" rotWithShape="1">
            <a:blip r:embed="rId21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750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ключевые отличия групп тарифов</a:t>
            </a:r>
            <a:endParaRPr lang="en-US" sz="75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399404" y="5641255"/>
            <a:ext cx="5715937" cy="1580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40" name="Rectangle 139"/>
          <p:cNvSpPr/>
          <p:nvPr/>
        </p:nvSpPr>
        <p:spPr>
          <a:xfrm>
            <a:off x="399404" y="5938424"/>
            <a:ext cx="5715937" cy="15805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9404" y="5381887"/>
            <a:ext cx="5715937" cy="71459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25" name="TextBox 124"/>
          <p:cNvSpPr txBox="1"/>
          <p:nvPr>
            <p:custDataLst>
              <p:tags r:id="rId13"/>
            </p:custDataLst>
          </p:nvPr>
        </p:nvSpPr>
        <p:spPr>
          <a:xfrm>
            <a:off x="2586993" y="5604143"/>
            <a:ext cx="955570" cy="5399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За плату</a:t>
            </a:r>
          </a:p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Нет</a:t>
            </a:r>
          </a:p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75-125%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14"/>
            </p:custDataLst>
          </p:nvPr>
        </p:nvSpPr>
        <p:spPr>
          <a:xfrm>
            <a:off x="3821383" y="5604143"/>
            <a:ext cx="955570" cy="5399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За плату</a:t>
            </a:r>
          </a:p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За плату</a:t>
            </a:r>
          </a:p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100-150%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15"/>
            </p:custDataLst>
          </p:nvPr>
        </p:nvSpPr>
        <p:spPr>
          <a:xfrm>
            <a:off x="5086252" y="5604143"/>
            <a:ext cx="955570" cy="5399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Бесплатно</a:t>
            </a:r>
          </a:p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Бесплатно</a:t>
            </a:r>
            <a:endParaRPr lang="ru-RU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150-200%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16"/>
            </p:custDataLst>
          </p:nvPr>
        </p:nvSpPr>
        <p:spPr>
          <a:xfrm>
            <a:off x="380296" y="5604143"/>
            <a:ext cx="2088232" cy="5399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Внесение изменений в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билет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Возврат стоимости билета</a:t>
            </a:r>
          </a:p>
          <a:p>
            <a:pPr marL="182563" indent="-182563">
              <a:spcBef>
                <a:spcPts val="146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Бонусные мили</a:t>
            </a:r>
          </a:p>
        </p:txBody>
      </p:sp>
    </p:spTree>
    <p:extLst>
      <p:ext uri="{BB962C8B-B14F-4D97-AF65-F5344CB8AC3E}">
        <p14:creationId xmlns:p14="http://schemas.microsoft.com/office/powerpoint/2010/main" val="174461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5" rIns="91429" bIns="45715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dirty="0" smtClean="0"/>
              <a:t>Правила применения тарифов с </a:t>
            </a:r>
            <a:r>
              <a:rPr lang="ru-RU" sz="2000" dirty="0" smtClean="0"/>
              <a:t>1 ноября 2016  </a:t>
            </a:r>
            <a:r>
              <a:rPr lang="ru-RU" sz="2000" dirty="0" smtClean="0"/>
              <a:t>в рамках новой структуры тарифных групп</a:t>
            </a:r>
            <a:endParaRPr lang="ru-RU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359532" y="5949280"/>
            <a:ext cx="842493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Примечание: 1. Для некоторых направлений доступность услуг может отличаться. Для перевозок до/от Казани и Ростова, а также для перевозок по плоским тарифам действуют особые правила применения;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международных перевозках 100 EUR/100 USD, кроме перевозок от пунктов Японии; 15000 JPY для перевозок от пунктов Японии; При перевозках по РФ: 2000 руб. для перевозок между пунктами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европейской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части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РФ; 4000 руб. для перевозок между пунктами европейской части РФ и пунктами азиатской части РФ, а также для перевозок между пунктами в азиатской части РФ; 3. При международных перевозках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EUR/50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USD для перевозок между пунктами РФ/Европы/БСВ/ БЗ9, 100 EUR/100 USD для остальных перевозок, кроме перевозок от пунктов Японии, 15000 JPY для перевозок от пунктов Японии; При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возках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РФ: 1500 руб. для перевозок между пунктами европейской части РФ и 2500 руб. для перевозок между пунктами европейской части РФ и пунктами азиатской части РФ, а также для перевозок между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ами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азиатской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части РФ; 4. Для перевозок от пунктов БСВ в пункты РФ/Европы/БЗ9 разрешается с удержанием платы в размере 85 USD; 5. Для перевозок от пунктов Республики Корея с удержанием платы в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мере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200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USD; 6. Для перевозок от пунктов Республики Корея разрешен с удержанием платы в размере 200 USD. Для перевозок между пунктами Узбекистана, Таджикистана и пунктами РФ, Азербайджана,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Армении,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Белоруссии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, Казахстана, Киргизии, Молдавии, Украины, Грузии разрешен с удержанием платы 50 EUR; 7. При внутренних перевозках по РФ и международных перевозках между пунктами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РФ/Европы/БСВ/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БЗ9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разрешен без удержания платы. При остальных международных перевозках разрешен с удержанием платы в размере 200EUR/200USD, кроме перевозок от пунктов Японии. При перевозках от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пунктов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Японии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– разрешен с удержанием платы в размере 15000 JPY; 8. При длительности до 3 дней – разрешены, при длительности более 3 дней – запрещены; 9. БЗ – страны Ближнего Зарубежья: Азербайджан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Армения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, Белоруссия, Казахстан, Киргизия, Молдавия, Таджикистан, Узбекистан, Туркмения, Украина, Грузия; 10. Времени отправки, указанного в билете; 11. Предоставляется на один сегмент в пункте вылета;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12.</a:t>
            </a:r>
            <a:r>
              <a:rPr lang="en-US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оставляется 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заранее только на перелет туда-обратно; 13. Предоставляется бесплатно только для участников программы FFP уровней </a:t>
            </a:r>
            <a:r>
              <a:rPr lang="ru-RU" sz="500" dirty="0" err="1">
                <a:latin typeface="Arial" panose="020B0604020202020204" pitchFamily="34" charset="0"/>
                <a:cs typeface="Arial" panose="020B0604020202020204" pitchFamily="34" charset="0"/>
              </a:rPr>
              <a:t>Elite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500" dirty="0" err="1">
                <a:latin typeface="Arial" panose="020B0604020202020204" pitchFamily="34" charset="0"/>
                <a:cs typeface="Arial" panose="020B0604020202020204" pitchFamily="34" charset="0"/>
              </a:rPr>
              <a:t>Elite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00" dirty="0" err="1">
                <a:latin typeface="Arial" panose="020B0604020202020204" pitchFamily="34" charset="0"/>
                <a:cs typeface="Arial" panose="020B0604020202020204" pitchFamily="34" charset="0"/>
              </a:rPr>
              <a:t>Plus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500" dirty="0" err="1">
                <a:latin typeface="Arial" panose="020B0604020202020204" pitchFamily="34" charset="0"/>
                <a:cs typeface="Arial" panose="020B0604020202020204" pitchFamily="34" charset="0"/>
              </a:rPr>
              <a:t>Silver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00" dirty="0" err="1">
                <a:latin typeface="Arial" panose="020B0604020202020204" pitchFamily="34" charset="0"/>
                <a:cs typeface="Arial" panose="020B0604020202020204" pitchFamily="34" charset="0"/>
              </a:rPr>
              <a:t>Gold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500" dirty="0" err="1"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lang="ru-RU" sz="5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ru-RU" sz="100" dirty="0">
              <a:solidFill>
                <a:srgbClr val="FFFFFF"/>
              </a:solidFill>
            </a:endParaRPr>
          </a:p>
        </p:txBody>
      </p:sp>
      <p:pic>
        <p:nvPicPr>
          <p:cNvPr id="8" name="Picture 7" descr="Screen Clippi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0" t="1188" r="678"/>
          <a:stretch/>
        </p:blipFill>
        <p:spPr>
          <a:xfrm>
            <a:off x="946284" y="1121663"/>
            <a:ext cx="7251432" cy="4864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901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5" rIns="91429" bIns="45715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dirty="0" smtClean="0"/>
              <a:t>Тарифные группы (бренды) и соответствующие им коды тарифов</a:t>
            </a:r>
            <a:endParaRPr lang="ru-RU" sz="2000" dirty="0"/>
          </a:p>
        </p:txBody>
      </p:sp>
      <p:graphicFrame>
        <p:nvGraphicFramePr>
          <p:cNvPr id="4" name="BainTable74344"/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217451" y="1815735"/>
          <a:ext cx="8709099" cy="47484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55104"/>
                <a:gridCol w="1713435"/>
                <a:gridCol w="2520280"/>
                <a:gridCol w="2520280"/>
              </a:tblGrid>
              <a:tr h="31712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оном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3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мо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6AA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SX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D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S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EDF5"/>
                    </a:solidFill>
                  </a:tcPr>
                </a:tc>
              </a:tr>
              <a:tr h="93610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юджет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84B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VU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endParaRPr lang="en-US" sz="1200" u="none" strike="noStrike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U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VU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3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2434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VO, BVO,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VO,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VO,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VO,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VO,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VO,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VO, TVO,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O,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VO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3F8"/>
                    </a:solidFill>
                  </a:tcPr>
                </a:tc>
              </a:tr>
              <a:tr h="93610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имум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A5D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CL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endParaRPr lang="en-US" sz="1200" u="none" strike="noStrike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8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2434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CO, BCO, MCO, UCO, KCO, HCO, LCO, QCO, TCO, ECO, NCO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8FB"/>
                    </a:solidFill>
                  </a:tcPr>
                </a:tc>
              </a:tr>
              <a:tr h="93610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миум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BB7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FM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F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2434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FO, BFO, MFO, UFO, KFO, HFO, LFO, QFO, TFO, EFO, NFO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057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форт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822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имум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0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CL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2434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CO, SCO, ACO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E9"/>
                    </a:solidFill>
                  </a:tcPr>
                </a:tc>
              </a:tr>
              <a:tr h="405765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миум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99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FM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6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2434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FO, SFO, AFO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6F0"/>
                    </a:solidFill>
                  </a:tcPr>
                </a:tc>
              </a:tr>
              <a:tr h="4057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изнес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373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имум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8A7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CL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L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C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B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2434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CO, CCO, DCO, ICO, ZCO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BEB"/>
                    </a:solidFill>
                  </a:tcPr>
                </a:tc>
              </a:tr>
              <a:tr h="405765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миум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AD9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FM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FM</a:t>
                      </a:r>
                      <a:r>
                        <a:rPr lang="en-US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F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1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FO, CFO, DFO, IFO, ZF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1F1"/>
                    </a:solidFill>
                  </a:tcPr>
                </a:tc>
              </a:tr>
            </a:tbl>
          </a:graphicData>
        </a:graphic>
      </p:graphicFrame>
      <p:sp>
        <p:nvSpPr>
          <p:cNvPr id="9" name="BainTable74344HeaderBox1"/>
          <p:cNvSpPr txBox="1"/>
          <p:nvPr/>
        </p:nvSpPr>
        <p:spPr>
          <a:xfrm>
            <a:off x="261197" y="1169700"/>
            <a:ext cx="1852856" cy="4591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200" b="1" cap="all" dirty="0" smtClean="0">
                <a:latin typeface="Arial" panose="020B0604020202020204" pitchFamily="34" charset="0"/>
              </a:rPr>
              <a:t>Класс обслуживания</a:t>
            </a:r>
            <a:endParaRPr lang="ru-RU" sz="1200" b="1" cap="all" dirty="0">
              <a:latin typeface="Arial" panose="020B0604020202020204" pitchFamily="34" charset="0"/>
            </a:endParaRPr>
          </a:p>
        </p:txBody>
      </p:sp>
      <p:sp>
        <p:nvSpPr>
          <p:cNvPr id="10" name="BainTable74344HeaderBox2"/>
          <p:cNvSpPr txBox="1"/>
          <p:nvPr/>
        </p:nvSpPr>
        <p:spPr>
          <a:xfrm>
            <a:off x="2228053" y="1169700"/>
            <a:ext cx="1598345" cy="4591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200" b="1" cap="all" dirty="0" smtClean="0">
                <a:latin typeface="Arial" panose="020B0604020202020204" pitchFamily="34" charset="0"/>
              </a:rPr>
              <a:t>Тарифная группа (бренд)</a:t>
            </a:r>
            <a:endParaRPr lang="ru-RU" sz="1200" b="1" cap="all" dirty="0">
              <a:latin typeface="Arial" panose="020B0604020202020204" pitchFamily="34" charset="0"/>
            </a:endParaRPr>
          </a:p>
        </p:txBody>
      </p:sp>
      <p:sp>
        <p:nvSpPr>
          <p:cNvPr id="11" name="BainTable74344HeaderBox3"/>
          <p:cNvSpPr txBox="1"/>
          <p:nvPr/>
        </p:nvSpPr>
        <p:spPr>
          <a:xfrm>
            <a:off x="3940398" y="1169700"/>
            <a:ext cx="4921323" cy="4591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ru-RU" sz="1200" b="1" cap="all" dirty="0" smtClean="0">
                <a:latin typeface="Arial" panose="020B0604020202020204" pitchFamily="34" charset="0"/>
              </a:rPr>
              <a:t>Префикс кода тарифа</a:t>
            </a:r>
            <a:br>
              <a:rPr lang="ru-RU" sz="1200" b="1" cap="all" dirty="0" smtClean="0">
                <a:latin typeface="Arial" panose="020B0604020202020204" pitchFamily="34" charset="0"/>
              </a:rPr>
            </a:br>
            <a:r>
              <a:rPr lang="ru-RU" sz="1200" b="1" cap="all" dirty="0" smtClean="0">
                <a:latin typeface="Arial" panose="020B0604020202020204" pitchFamily="34" charset="0"/>
              </a:rPr>
              <a:t>(префикс из 3 букв</a:t>
            </a:r>
            <a:r>
              <a:rPr lang="en-US" sz="1200" b="1" cap="all" dirty="0">
                <a:latin typeface="Arial" panose="020B0604020202020204" pitchFamily="34" charset="0"/>
              </a:rPr>
              <a:t>,</a:t>
            </a:r>
            <a:r>
              <a:rPr lang="ru-RU" sz="1200" b="1" cap="all" dirty="0" smtClean="0">
                <a:latin typeface="Arial" panose="020B0604020202020204" pitchFamily="34" charset="0"/>
              </a:rPr>
              <a:t> определяющий бренд)</a:t>
            </a:r>
            <a:endParaRPr lang="ru-RU" sz="1200" b="1" cap="all" dirty="0">
              <a:latin typeface="Arial" panose="020B0604020202020204" pitchFamily="34" charset="0"/>
            </a:endParaRPr>
          </a:p>
        </p:txBody>
      </p:sp>
      <p:sp>
        <p:nvSpPr>
          <p:cNvPr id="1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endParaRPr lang="ru-RU" sz="1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516729" y="1556792"/>
            <a:ext cx="1108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/>
              <a:t>RT </a:t>
            </a:r>
            <a:r>
              <a:rPr lang="ru-RU" sz="1200" i="1" dirty="0" smtClean="0"/>
              <a:t>тарифы</a:t>
            </a:r>
            <a:endParaRPr lang="ru-RU" sz="1200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6937440" y="1556792"/>
            <a:ext cx="13417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/>
              <a:t>OW </a:t>
            </a:r>
            <a:r>
              <a:rPr lang="ru-RU" sz="1200" i="1" dirty="0" smtClean="0"/>
              <a:t>тарифы</a:t>
            </a:r>
            <a:endParaRPr lang="ru-RU" sz="1200" i="1" dirty="0"/>
          </a:p>
        </p:txBody>
      </p:sp>
    </p:spTree>
    <p:extLst>
      <p:ext uri="{BB962C8B-B14F-4D97-AF65-F5344CB8AC3E}">
        <p14:creationId xmlns:p14="http://schemas.microsoft.com/office/powerpoint/2010/main" val="3406021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8"/>
  <p:tag name="MMPROD_UIDATA" val="&lt;database version=&quot;6.0&quot;&gt;&lt;object type=&quot;1&quot; unique_id=&quot;10001&quot;&gt;&lt;object type=&quot;8&quot; unique_id=&quot;10002&quot;&gt;&lt;/object&gt;&lt;object type=&quot;2&quot; unique_id=&quot;10004&quot;&gt;&lt;/object&gt;&lt;/object&gt;&lt;/database&gt;"/>
  <p:tag name="PAPERSIZE" val="A4"/>
  <p:tag name="BACKGROUNDCOLOR" val="-1"/>
  <p:tag name="BACKGROUNDINTENSITY" val="Light"/>
  <p:tag name="PRESENTATIONTYPE" val="BoardWhite"/>
  <p:tag name="OFFICECODE" val="True"/>
  <p:tag name="FOOTER" val="True"/>
  <p:tag name="OFFICES" val="Amsterdam;Brussels;Buenos Aires;Copenhagen;Dubai;Dusseldorf;Frankfurt;Geneva;Helsinki;Kyiv;London;Madrid;Moscow;Mumbai;Munich;Munich (English);New Delhi;Oslo;Paris;Stockholm;Zurich;Zurich (English);Melbourne;Seoul;Shanghai;Singapore;Sydney;Beijing;Hong Kong;Milan;Rome;Tokyo;Johannesburg;Sao Paulo;Dusseldorf (English);Frankfurt (English)"/>
  <p:tag name="OFFICE" val="Amsterdam"/>
  <p:tag name="VERSION" val="5.0"/>
  <p:tag name="NP_IDX" val="16"/>
  <p:tag name="BULLETPOINTACTIVESHIFT" val="4"/>
  <p:tag name="BULLETPOINTACTIVEGAP" val="0"/>
  <p:tag name="MEKKOFORMATS" val="&lt;?xml version=&quot;1.0&quot; encoding=&quot;utf-8&quot;?&gt;&lt;MekkoFormats&gt;&lt;NumberFormat DecimalSeparator=&quot;.&quot; ThousandSeparator=&quot;,&quot; NegativeNumberFormat=&quot;1&quot; /&gt;&lt;Font&gt;&lt;Output_Font_Name Default=&quot;Verdana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1QIPyzdgiLUyzw7mgd0jqO1F7QB1f63xV2T3YlMOy0zs0D81Ub6O/Vm7bR8vy6/faHEFgfVJtZJzfsDee5X5Re3quTDU/YhWrArv6SOPf2sO644nET5Qz3aA82cs0pGUQcGX08ia+AjSduKdOACHlcQszaFsuEd6slKMK3qzuaAQfaoRfInBTsaKZW7gpkweTrhtuqxpi92dZCCPsa8Y7j0oM0P2/gkciLJSM8NwHhVhgU8S0HGNoosU0MhFb3Zk3YzJku971I5rlroYEXPBRprwSIDlVE3VPGBhzS/78T5HRkhKFe8R9LLowSIKatl3lzGSR/bG1a/prusgu3Bu7he7Lu2trHtbmKtdgfYTtC95z0e0OuRg2TzKdcetl23f/aLVk773oSX/Dx+30AMXy/8/duXFHtvTJiZqiNeOiETP7J+wP/bwemFeMpjZsKxW3lbRTJ7H0MkoWc5z7RIh4KA42auIz60GrL8T6hbDJGQxrVCbzeAQAxxVyrZlLmnlKjtvJkH0JyrGyz4yzshEYUqYblPuAOIFniRihMuzC3kui8JPEB1SM6B29zkmvfYno248pFImMSbpuuwpt8Fyv0sdCjFsm7O1gj3Qb8NALm70LNMvGq8RHLO4RL8nqX628haBPgpT/77LqRr2tz2Rov/7BW30Zx35nGQxwBABKqEyaQV7gNLaDMVsiChHx/bGAReggs/0Lp58dS4h0PWR3B17wKoErig8UorFLLu6tFUSR4E8oLKxJDiIkwZGjVfY1y24P6ReRn1NmI17HRaVbmdNPmlEkK/ZuOO69P5u4Go/RmImqrw0FbiqQ0szCkrqw9uJxyhO+5IMkHIr6kBith2TLJIwqdIKHjsVdrKyN8FMaOIh5FLgMAXm8PCdK+DPphGQ5xg31J3ri4okcUkxZVxL1ddOGoPmuSZI9IzKJ535ODLcmQXGDqE1zzIr9EuxYm3Y8VPkbgBiw/KIdXlP4Pu3zgUazsl9uqnljBvUD9CVs/6xWc17TTHU6Gn7PlAvkBsiiR0828f6RBqB1/0Qm68/yTaOEGCC4/2MnRNfzwtxGWY+PPklsm9OnVsc+vhEEznHSNDhjec6xYZyrXPHJQTC9QbqQpSB3TQt35ASOYCDcwk2ADjFubR4frPXpJXR1Jj7d93MFjKvCojSz9BS5HgnJL6GFwSOYVse9HEtvzYgkrSRNUdF88tIahg/fJx1LDAJ3kOqJavlEakqxxGFggG72WFIaWB0yM46aTw156UCbdKUvOdI4YCHfF/VDIXFnRcRayTiAGxSnia0BFsXkrfv26668n2sEmU93Sewp+CdH48PF4S4yO4rcbCs8wcuVSeIJ2QPE4TFbQS74GJ9Krp48YcUAllGS6Rb4wQE4L2O2EOeq6SS4/Qshvvvj7pQpn3cy+2an444VDY8vV+liKkZglxr6iRrKwqXv9u4eb3O2saTxcH0RJZSyAXcYk5BMv93skq7kE37LSfsS2ASrbu7M1f4h4JjmFIcQtjGJMir5X4UyCKywWGJLOz7TfiotFesu+WqKqGsI8wHpNiMDGNWjlJbkP9amTOYjcasz9/X+p3V6ARACRYc780t90B5orevtZ/ZixQerNEqSdEm0F4gHC1DB+dagtueTEBQhIGx66VRz3zEGb1N21572lYAHP1i1mtwe1cC9FpdFmXfB+E5BWy+JzAVMgRJUcIFnPvBR9IMZvNrG3UN8FGiuJYOSXQ8B1jjrnxBh3Hc2/Ny+mRXiTWYbA6O1PyjvV7P10SA5nAROOzh8lOeYAvsu+llyRc1ClP9X404Z1r49RDNDZe9VSDwVfe0lX4tzEsk7qSUbUtAb9/RAqZ0LSL8OoSG/0MZwdo+8idyzm/zhQZsH+xbkqrWKd8F8VXLJbAqBsoxQ83cW997+OH3/I7Y4hXTzOanMDzYHlBGHLJa/zIixlqa7eVnepvNNnQQ+GrMXWeR7AJvDF4uokMVjzwSdOu3KjBe0fhItuxsJ/Mt42dKTdXA6OX2ak7otavAexm+1XAR5ze0fVxouTOoFx2qCLmNoPSTH4wmABBZIwsmDg08jwRz8BWxBlf6p/wdwmqbLP3kwp2VSxvXNfBbuaqlYASmHWOnNmr66MnlcMi+P3F4GW7BHqDdKO2sLug7u8Ewif+G7zC7m41ImMmhQxo2ya9rfa76MJxVIowWStj1znXMu4tOB81xy9i12m+z68VOKdkvtH/69VgpQ8hOl7rSPZ1/UTWjqm6wtAYyGsWcQxUzan4aQaeicmd3r0tw4BVI22IHqxKGe3Lu8RHwIuo48gbm5pOiXBk5bbSYgD3DSXB2el1OkkEtdcR2EHb2RbslGmLFK4d2SBQY8HrRzbJflaRmfrcT4vrClCA0IO6N03Yra/QA2yycPzcwHdpIanXmc3zqtvEuRE+9l7MB7QEbD6/zN3O6V8uiBg+yqEkIAY8WqOrnGkE3h/kiqPVQXK8lJIec2TbQK20PfYlW7SY5hA4PgnKtsLfIgXlHrZ8yjxKTOZ4rOajkwqf7GSIUUls6zyQdE+e6AESv2fddqrVlEtqYUCAtactRN9m+3s2zPr1fC0genPQ5THnVeUn60jJEOri4Vu5dOpcT2xbctaojCqFC9dj2n5xipI8pCxoCAH0tfArpGhZ6l8mzNOT8l2J3qTPFVqBP0etUO2E8r6Sgd49RgwcX3PGrKXFrMtYvXjBqcERXrfjGXsqoMl1kkgXtBbxJBA3Nlpv6eJ4G675zvcJHK6kxJgQgieTxh1VtUDO7MQWKnJLNr9V6wPrdFg0qKTqMk7meGyrp2nFJr7OFtq9c23mdJQX08UOU5O4UcUuUjs5KqvGIXIXlUbiveLNF3XR+y5daBcIPo8aU6plDTnqxHPcilfECDtujqCfc78wQkfMphSxelQvU586RKaaGqssqxkS//2MQomR58wfQpTjehA5pDazm1Ou3GiCEoyPbPok62a3yB7DnBrhzLduBOjtUptQvHcKs0ZB2oirT+D/0jdoy2CeHVREJ63YcTwx1T/W8R3QCbzc8qx0xMbGk/Y1yhnoAmy7oCR3FGsIhLvKlkbJ56ddCUoQGwRHjWbXqEIb0bek5qCWL26bwqaiaZDmOx18giSxSWcBWwdRQmehcMeHXqfXOBpx5+FB4Ciehae6cmKtMKNbXkFaTwny0RVKS4tGx9gJ/Mubro3ggCmVobYnIejioONrd0hCnEJaJ3q6pfxnU0Gg73MxQWW9jkUb9F24tKJA4RlfQg2K2KtiQsaCHDOX4UtIKonCPMxU/CwCuqGULDel64fA1F91ZJKHiId6v4U681gbBZlZV1EhPrtbX5o/khy1fwEFYkRrfwoYirJWMkljau0dqyVWWk90HlF7cIbsKzUqwZl3km49zTgTTwYmrRm7bQfIFtuPBPoCGaz16askspv3FloVFudwgcJoEvjR9qPvxC295LZpb7ikwAUNt6f8TPaykm6fIbErINaebT8e4IUO1Ux9b79GzhwzhSDXewVjce0UgI3CkgBkmeEEPiUErOfW6SPTm+OjkWg7YxLKc/VofY9T5VY3Vig18FREquGh94Ax/+OCb+J3eRcZk/iP+++5TqDOOM8W5m+xbk+R1CNcqM/Hf/mEe/OgChM9mz5c6rv3q1zXSL0Sm0NnK2MusG91FZg/oMMR9X9EQYC21SklZpY666bEvIawNLETLoRErcJ++cF5jQV2gRygg6hKeagXX8csP0IA2/SDf4vfNJ8b/kVjQa3GrPxEVD8d/MvGgS+PBHfMoRT8dbm3zkHa8c/JR4HO8Iu6A8WWbpcaJsFuvJ1XrHL/R0hw97gHeTEUirip10kITLUswXI5ls5qiEkG6uevt2CGepqiP3n00Bnqa8wel+NpqDwJ+ga0lEdDZMJG3myY9DfK8LxJY8NpLVZ9YOfxvJ+nt1r4FI/NdaNI0BPGRmM4xC4Dw2OXXnAXu531V9+jJkQ1htfE+E5dPNXrew+aHl0DLpRI/DBMksm2ucDgiE3kPdihJt2R43xjmQS9MjZ73s+ByInPvtKdpepoZ6HL5LO+ivHGFXVGWtlTQn5nTVhWo499Mt2gR4vWbIS7iFkeYDb1h+TD1jcBwyd/b5KdmFApStwqREmdCC+3w+ESX+JSl8R+lT5IpotN1huqVJnJjFmUXmPbSpso3M4GnhH9UOaJcZ4i5ZCZL/nQJDtMyA7QhwImFOrt1sDpTUwrvPp2NBZgqCw/RfBDx+/P4pttdThoZFlUJJWOcdUv2+WxI4wZOMkGy1XMGEYcMLSztbgbrduGfCqa0aqPjesWpi7cGippUZ9/EcwXUtr7XRe0kF9rQYQqJrUS2jZw80318m0rEiIDMYJu9mxSqnYoOeRUesNC17J/VzfFddY1ubcVMyfCJ7GtCNJ0QgCKYQ0vrBYtcUzktcz3Cox9UMo4bMFk2JVeBqHCohGUOk5CyMKjCG887JI7lPa10npuSyyHIHf+zuWVb5v2TLlHViUYtyn/fatEH++jeOhbRT/BTviC1mlvntejTOKBCyHNn9FNyBbHpz5pIeJC3xvXwdjto8HZRuIFefBW83u5j5VlOHXjqc91TNJlmDnMY7mDNltrmB4nJVOlFP0sY5xzXKIgEaYB8jvrKj8/V3TBYvPf/wmYF5W39dboPtCkPrh7qx4N6E+7ddAebHDzjx7LdGsfNXHtGzldUnhWiM7x+fiCNDcjvchnxiVmslbADkvNEJ8SXrE+e3nr8+SHZ4SwTaJIyPOhBdPX6BurA+/RWMrpzswPkSxiOMRfiag8k393OGSS3JFdfYwHhalzP+01DX2fr/86tJigCVkeeiYk6jfv+y5xGl9Na2+UxQSBwUpzCc8pjiQBnwxNyNc6S/4E23/MrmgwR9rLbscsB2IC6rYJ1NHzSNzCx5/gkWptx+UCBmJUFrChu6BIC92dHmx4d5gmFU5dTUyP3MnNwNbQzAuCLW+x1FNLPh+DMiHYemgA31SiijojrettdL6imtVWFmTQrVTgvqjGwNPyiMuelXuICmSIwycRVypoUF6GyhVd/Z3CV7If63VlbfIPTNxs9XcYpwQKWtCMq3YuktTEoDIFynTJYLLNzZ3BTH2+DxALadckkMiNbFxmwRvCFj3nsqP6zd212kxE6SsPQUxlCIC9R26Tzoc7cVZjkUftXA2PiJ4IQ0g+aHEfnoLBff8xuWm15lvRnCZMff+0iswX9qaJUnL+5kn56Uz5GFD8W3czXOW3si+DgpsDbsjVQhU+L7mUN8qX6Fz3NTLY+j7xF8GuRllbGcpNDkHprFTCAbrEpSsPHojnL+YFPHekctq6T2m9/JGi5BVg19bxoO9eUe2E3MOfEOIWpnA0JxBU6R4qAWnPPkIIYyUUr86SaHJvvVGRg/k94F0kei1oZ3xZAUWTmKhYgD2Gnk+9icexKibAavp7PpnNhiDno7NgBMsmsEnU4KHoc4znv1jJQiwOKxWbeLHIxkVipsIoxcpTv0b+vHA2oTwGWkh6QpElfM0AdO3z0TV+4EFifBL6g5umBPfRout3FOvwErsJGu9gAx7z/6jKW4srpXqFVeOoQVk0IzfkrqoJdhTqOMWGFFYMRXLxQ7e4BrBIdO2bEUf5FUceACBTtsiAgr/mIN+QF0NVcvPfCINSwJKbOSWfUQtBC7IVYaP3R6P+9wPXY2MA8FGN50RQ4ISI5AcKvw2QBAJrEhIMJS+GQJLoFwaVtEM/pAluiVx5mD64KtfZg/buB/wQGo+jSl+U//tABgGc48pKgHXS6imMhPeliZcyMwJQTE2PSDnXV7XbO3x1+NHxeHA4aNKxcwmLzKX/xdHTe54Wc9AaKDke6bwVQKd128wA0zUQwA42d3T27Ts1gUwdRbtsOstHGIa53dtQ4m4PNPqMbbSTq6QWcPK7P7WrChLMpIxud8bfuNHDzgIoAeKEpet8VhOv23Zv3LcUNEXUwe3t1kVgNPsjEMWYr2BGuzu8Qqr3tXscr9GyxrzhFZOYAS+PdwfSxYiVkZlszyD+Ad6mbSHGycBFdjQFA0IDhel+wi09IcaPhHy77VQC8THdaDF55rsDvjU7fuMY2xKAVYMIjWelcyubQbxeF77X81pVBVDCjRGZArSp0MrY2Sz/VWJ1e271XgIkmzKdD1R2fzzFtNKYXu2NZ3IMDhn7orWWB059BOJ39UO5ZoXALB3MOVbA7m9l2GrEl++vuukPOx34yIiF0Hljz+UdCQ5r4tKwswG9yFdO0eFvwvi1Gsm0e3+W2225/uiDNF2ejgDXwWqw/HgMzAbOrvXFC1LTCOExU0r3VF0llJgIN2uCJtqOmC84ZzHpJMrw9F40OuYDll6PRUv/8pq/RsYPXVDlqMehkYiaQRsLk1iFJ7aDbCPBFeiM+8Qf2xACAKU/K34gDtmFZbkSTt0uJOSEVF3eInJYxWE8WjfkoTsc/9gtKO7woheG/ZbB5pPhm6yHSgZuo0m8S5aCK802n8IDzlkrStzZOmX86cy+2Itnzcb/8Ed46qOr/GnVayoI9WrGRsrT38TbSH602nsvfh1D1SD96aJNKcQPOXz2YPMzOi4wTvUIleSfowBHhvXq6EHS+uGwMZycc1ZQ1Rft1NOE5/FQ+RitNtpgeJJY4aDQZcVDqHQJ8gZDrKZNxdfCv53+eYV2NCheVVRTD+dd6+6rJkPeN4KU1Ba6D2EDi3nCqgety5F7esyYLLSoB0gB7qatG7RXSbfkPX2nyyBBL8KHBvyplDmNWlNVQ1Ai52CiLff2XhTY/6VQZD9z6akuaa3S0cTHTg58RBmbVxskxc5JveEONI52Zl3zgZ6KZcH0AgHFxyRfeGDD2+CKTkGEVHSIUPJ3JtN9D4tO742Pzyu8ifEYZ0d+4IdxwWjhCKCtNvVdU9VXCNBgsy3q3j2OdNKVVBfh235FTUOfsb2XfHIAnGAyz6dstkes6cazaKuFLbcO3J68wM9e9u/ditB8WEhLFRBflKD1jlkYoDvdlRKegWq4GEzkH6wZurjYfm37fFh/2HRTWqNT9vNucL5mXsRS7MSFGF6OJoAKcxwAc6tjL37tVGcvu3kkQcchMEDPhnq1SNT14EnXBDuHQCScCTN3jWzLnIoH19c8aN2f1Mppz28Z7x7nvvMVonmgCl7qC6S+Uc8mA3nNI1IyjlzCBBGLi310nLs/tIRM7OvmY+bFjif3b5VOjBCO54yJs/OnZeYAoMh9HQoGvhbRWpxn0FiUBVZqhT6f0M1vWEZuwGMQ74kHXf9zK9JjJl3nQ6ANRBfqNEby7GZfvXW9TwVtzPPClwuaDxlEWRz+uXhyOmFf02JBmmowHPE3ZZrOZu5KAFWZjj4vrW5L+NSOGnJDLCLICCF87mPwXWp8oY+RZjg1xyK+uAX7zXMr2IH29urrlMbiYNMewlLZWLT+YdQeaVWVRvUTEGek/UnQ7p2GjsRulrciccVw659t9kzQuR0a6uHqg5vyDegdpkSKIIG6FE/TAA/3bsyBSge1r/hgYSq3qlzBq8SyrMpoW1Kk5WEsi2xAWIHsZnsP+A4J4MSlZJXzNtYNObeHzxjdf1LiVXkxao7yAL24iVhlskwtTWnOhsDJob76BU1N1yRpmNg3z1ibwcmX+xdmy/RKcXdNMHPUa4Q0EvwkycM0OpVgxknQ4J/oRJsWwsfWNJBO5omZiRzfcQY3utnDO18ATwNpCeeNVTkdbQsx12M7RVt94OhJqLzZDwusggDpeMihkQt1uOTT9LEbiigYNBCJhma1TdHXlw2Q5UQRy/Ta/pveVneOBKxzvyofUFf4vtAt8k6E1ywujgQ8+hEbikja8DJoZNcBXVzwQ26iVYhzxkvXzQASXSjbCyevH74/VP+rEfZbpkZmmu4wNfKfba/I47TDOPTxKD8kuPE3dNipbQQ/AsR1fiCt3kgwOnZUQ+xNFcMr6yBSO2gLtS5niXpWvHjg89PFgfFJ1jBxlHvyjGz2J1kgT5vqx1QWrfv8qg942CMPdmVPk2dKXlVNln/SeT5stGoZvaVLVUMHF9ko/gOi4GNkaDFf8HE/dd7MxnSDJdSkLdxvzkRv60WgTBXcwmTBfmGdScT8L2qkSNl3Ab0j09FekEHJKqguYKqFo7wv+ncMi3MWCQQMQ0kAWXBS+VD/2Wyd4OkdOcNDpNvl6gDSefHf48fmx5oj573BbjB5Yb2CT6kzWTZ8OZReW7aNnjM6h5CLyRHudM3TzzoCScnGTVer7CqVdBVzEFwRCNjp3yCcOom5VelVPpyZJ4LZRS5Liuj6cS0G9cPxy8abpXJgR3FDRLXaNmF/p3Gfe1naDyUuqiVjRQYp42GzvrkS9MjNNkXMvInaNV68VvIlPMYH7isAudPux+o3wHpppBKdZOkFPIWnPlJV/b1xfLoFBterA1BHK5jXF8gwT3fTllN5nyF0MQ/oQX88ZETZkvpdINtZB8Ah2VWq/MllR/FoPYRV13p5JMKUF6OLzeni0gEAN9vYjuUJRjuhFu2g/jwINBnd4LZc5hP/I2kFsAiga46KkUYVOPuuZz6ELsiRNqra0rY4s9azP77NqxMzS8e5UoejHqqwHu8kWe+h9U0WKVDgRVQjOhgfQ5y+unddpU0gn0uQ1dBFWk/fhEF/hUDFzx0e/aNw2bSNehYWxD+bYZX3GMhS4NpdKhum59vNsI8zD+HB2AbUU8GS+v1EbRxA8F/9JJRZMqbEqUBl3q9BWVfEYSOiCbLeQXDM2xFwwZeHejJkW3yi9IU4dyQazbxbNAqsIgua68dWNxbNDxXdLuiF9NeHbNrDBJZkBHKD9Mlf9Shrnclg91bZqFuxE+Govemi1Crj4EBkAHnEY0BeetNm9h1uz6GUrqG8BCZu3SwtMMyfhWEc2JVGzCcUTMU4GvDg9EeqEb8e7y2JHIgPDT0C1vK2hV5TLrvTQxtKnlN29ck7QNOS9OW2DLJOkIxhOAJv+93IDpOVsS1KjXBgIry2RThdg8dNOOwp8NGGCaNKBUE0Oa3NdxV9hgrCUQgLiSQECun0ukimlXoC0mEdXuXhIBHBDfwvj2K20iWNUftjYyh75+DMLkRaiQxPYUg9f2etFzkSfSVxWCgSxvNyhOZjoD6WrU+FbptBxM0S2QH7koMmmsEVraKvGJtj5atzZTyzU2hvE6NpehYHknwaid32cyg6F0CrIzZ56wMD3SsUVDWWxucIL/Z+Spect4WGCnwZ/DTCLgd5gxRspdiaV9mlIDffM7GjYZchTuXOxnZ2GqndAr9tPIRJb6bQFWcRextX/Vzp1vw2kaE8k+P5/rAx4K0sNS7oZRPK1GWKzlfktPHkM3yAXyTRw3WkTmV6wFwXDnmaXHkCVn179mR2wGaSFjxCFVYoNcnNh513LNRbtCxIhhn7soNcVpKSqpr0FYzbzgz5X3GMX+RHuqWVVe7zMv9nrZM1b7a99zwY1Jg8CTl4oBnsB2m/zhKbyXhC3j0XcE3wb6/915ygqcc6MJvl3Iyj9fugkYa11uLozgwZdE16spk1giW/H3vP98e4dig3812OKMs+9O6AAj4z24jgEpPkQSapN7p0gr3qMprvDNXqMY5Ba8iPPfXoYxTP5oJHzluI7MNY4lpHXAuOI6mU6R7S0hu+dAgPIOz+fkbP5Q/Zsh7oflr20Z4yN6kkOAhip9/eDvQ5kZ7Wl3/WbkCy8AdbaJ7QdIyw6d5A4dHdEvBs+EP5NSq7IJ5RLLrN+Y41ETWD2QLaNzNshK/F3FmJEgO0kS6TochzBpU0dbIvn4sdoid3YqwIM8rnU9IawxduJfnw32D12WWqkdbCZY3NjnLJSiNWT2Y8yhzKKpWEF2qEjDfDIEqT0m5mRq/zfVvBf/z1tb0zEtncUujWI45lVV5iW3XVNpaJHFDxA7+kMce5i9fsmFfKKtp2NBuwESNLkXWn2X3YP+995bE0fwg50x0hxNx0iDEyyMf9vs5boWmmnzgZYCBXaduzqnKQMdNFAEAO9tHlQKB5wsVlnggAunSaKotwDgNodkX6WJEJ50ZFfv8OpQQLo9bIXBwE1l+6xsCQ7LrmGrJJBiQG+eMwpIsx0mwgKteMVy1X1woW9PabaFHG9K5FXUJ3cc5G73j102p6RITnRuQnzRX5JYyIdNJgDdjilJK20Q9YzgB8MXloScRS672Hz9cZ9T6/PC3oJp+ec3fdXs6tTKBfYSkmW09d90sXCaWqriL961hHUopaBIaMTmmfT+S5XQQLE6iySaG+Rw8m2YgxKxT1DbAsW+FE8Dyg8DSK9qPXRt0SEIzydXqmc8VIOfbzQT+o2xetMgUCU1x/uL5nKS286xv6uWfnCHWWYABJrMMPGQNRzWxCU63qms7QAq1HLLZLsdq+gt9696CJNo+0ejPArIY8dtlGdH57YtmxeZ3JipARQyuEAvf4VpJ+ToSL7rZCN6w+HXMjtqzWC4WzSFyQPC6cj5tvbIfaPVJLnHEFuuzeyV8gBpkLQnrdQc06zGgS+pKgCQZK1K9hKCj1rjCX+frFC/lU4vyvc29DTffWbZDlWws9PR52C0CdkGbBfdpmuFEFXywvl47k7Z4ZVZHe5M+rNmD1fpmtGw8J96Ar05BQ2ssNXTNAXz5s4Y8gTntYEzytjOKoLgvJDk+GIi8Jq+OwCnfdeDXVxOTw0k14bl79T2s3QBPTb7bDIuHjzvlmJ7/M8/Ta4ucn0L8uk4eVZLRpFf2A7IYj4z3t4jiV8P6eeEaiyIQqs4h+6GW1ODKZXZWbCZUdOXXfElVj8zmoDDSjVx6nQQH44xTNfkFzBsE+s4+aH/vOVFPwgegD0eC4RGbL3rjZ/0DOdGRZm4awGJUYXgHarqMiKoaq8o1kzHT9LvHxXicWfdCSEGfNc4JWQenqyWuOM1hOr2SgffOWQiuLN3x4zoxmCyAZ0+vSMq36EdsQ+JsPNNonaZfP2CB5PRoPQaOA9V4NrXz/6kYXQXaZtzugAApvJM7C1dojEM18uDcDgl28f2zfRt4QKKDm71pPhw6CVcPbV2XNQ6AB5SKcDOMXgfwocqolRJd+ot03+l7bHRqEr7fTi5JDC+gQ6Yu10/jmsJq1j9nr/LgypVnBvSlOYLsOH3eV5aYFsn8TPXzgE2zXNnKoJjCqaJ3y1bciPyq9iiQ68IoFke335cYnBVDxF70ygXYpk/vWMvUBrJrDVy94WP0pTX2W8iVCok3knImwtenbBCFW3eS6/YNXD3kf/YUbBz5kJBJCWEOIt3CcU56EtgWtX2yw0XKyIydKgOec4K1vAF1DMCETn1kEbwlOwwzB0/kN9SMgd9Cn7MXhqCYmhdPb9STClSX/q+ftoVdAu0+TNGxgyy93T1aWkphV00UN/tEglNqhP9hIZNznoQHmvbB9aT5PXKJLqqxY/sZ+KlEO1ExwfguUEDYVX9yNJ4PyL1dFdEZWDhy5kJ0ZLwDj5zD36pdk/ToAjdho+wwQGGyGE612pbnduJARMipgyuwe/ZyGZK/r05yG+N6VzrioRixQ1ig1yHYNJVpl85EsFoOSuudvIHkZMlGqkap0pEhSAhVBrC6TpYrLN7Wj3pLqlA9MOawcLRTE6kgs5SQaDNHWaCiTlpYbHUgIdRcXXKlEIEudhKdG0ByFqVqYxq1O+YjqKAdlO9aqPDIIZCKVVcf+m8zPZbghnto8+7ZEP2+0iNfWCP9E+iXRaQg72KDw4aepvMEDledbpCX/fjc2792hBz/qydnLHbbfRyauhdX/pey9WS79OokayG/ywU0+e9Bq61NwRhD1mdvkEoZsVE9sS4OkXK8DhjEukIpO+BjtVuJD729hqfUdcYcZ2Ln6NMpdMqj3KWHoak+JTM/PcwhvuXLZqJZLbbbUyELxyye+pBEXnblwjumkHu6xIeTMXud19xzYJh/g/RxnbQJ5n4JgquRF6BJpanuL3m5C1I19NVx8ZPBXOuCmQctKKNqK9Uw48LqSvcMYqtE5elffQf52MtSxTLmfn3Xdpj38cqitaMjPBfYfEowhao+j+tmYngz/1jqGT1t9PSsI7EpxQL9nmel5xbmIdvhtX/noznNfzEij02VLGl5VHdd94Anu0LkMrHFQP2x2xeViDjh3iOUfk/BmmgkvAfgDsl1v4f/yGwflbSF3WVV+k70rOXCH6Qp2S+me46baYXYz0JwpeVI4sFYkKgkSqa0AUgrhW2BJ/KEKQifBRL0oZW6nfsvZoktfBc+VDY+OL1zL99CDpcJnMwAFoWxglBgJuniIFbyqS87SkyXEmx6zRaeXwLlBL/4m1VkEFhFJERktkvO8uGAersk5uX8OZrVH1iavnRWlNS4+jzkNdGi5GolD/7rgX0HSG7KUY/RGbb2o+SBztp5124/Jwnmt61Gjnm4uVNL8uKuIHQ7dHpfmuROhTF5u5xMjqJnifwo4JQhO0T3A/O1P1QP/8GwsHIg98oDFX2LXJwsJGRziAQLd+sgy3znmTTQLtPGs5WJ/B4hysroLZLjLzYy3/EpzE0MCmcXg4vdhy4JOZMcs/3I5HXh1SiuBAhk17q8XjXlSWuMd5OQ//GGju91V8Hpag+Y9O5q0R31T9KbUGic0vGDonPowzDdfknl2GHdsDcRq2zC8wRLDd81vwtOAU1qL14EDuUwbWyT/lfnQ2wwLviqJrzMT53SygCAGj1E6m9x3vi6l3SfDD4WrDAra2vhETun9QCwA/CTsrF+2ywTG60NNkqIK15N8kWtQ462GrMgnbD7vNgEXdmgPYqEjwQ1nQj6p79cmeDDu4XCPxkMK0ZEVvbWyxxqcXd4O8HDxIQs+yQNWx5k4lZTgin+PLidyZ8r9ddDqh7OmTROT7omHGLj23YGZ9LjGq1BRnbUCopM8joJixMYmt1nhquGQ2xN9fANJG6bYqUPUu1g3d9dK4bg1xC82wlmRWPnOM8NyUGwfr0N4CKo2P2tHoQtvHUJmFGm94Ty69hZWVULk4yiUKdw1svIqRdgy9AG1R0NZhEzLV7K3/C+1Gi89AyqEgVEO+XBePlhibvjaGOLsa4v4untNF0aOE+4J8A+o3UscM4Ak2o8PZV2U+tUgCIbrWPr2akJMegFGYwu55K7+6xv0DZ2uNOEPdRLPqY+uKkT0ECrXn6TRM9d0r/X4uL0X17aLQbR2tZo0u0qqYFXNoLHbnfsAE99Dhb/bN5iBoxEhHfm4TlCsB5RxGe/LOEiLDxCrT0gSNq4/Gbiw37ObMgh0VSFD69zzxrpfHDuCZQZ6h8gEArX7dAs5PKWhFuRoY3Q89lTwzFDe6fuoaSETUPjaco0VEHVjbQ2qh2fLpkEE+1Ns+lW1hEcOn/ZXho8Cmsjmo6GkfxB0Z7cNIARqbt96kBJJyH0THQgmnGmTh/hx9CSlI7J+QSXUPltEhh6SMxW0k/kkTmRL6ZMUhsHRQ/V/o3HQ0ysLJQ5g2VAyEUNXPuSylVI7iR+0MN4LHzR76HkmlpLWc4CpKqO+wG7TbF3DmoK7dQ++9jjv4R3Qdhvvg3b8abYEr7Q+8yZqDZd4o82fpQPZ0QPisZa0Mjd04e7N2FpNa3mtx7BEOOiVSn6GhneBrVT6QUHCMN1Ebxmgi+BFjCpDV2ZbFMzfwKR6dvH0oGx1nJGde3YOilobk6avFlPN3ObtvVog4e4bWehyyRe7e1NePFo6U9OZwDeov7G4JI1QGMnC5Y1n4JqYOShvHRvvTzWZLeoT6QRygZee4AIJycU7ZsbK8/Ep7Fhr8/D9E5YwFwv/T0+qY8PoA8vHS6rZFFxheRuMteVC4ydn8N0FFFg008Q362DndhY3PfACo+/rbeUZ3nFwSRycmW8xyqI3oc2xNfPY645R8dioZOMqJx76A3sCqL5BWcjGCrzSkTmVdAyamvupBxH7UrH30OVmfVfJbw2Ma2EdW0jhaKr/gDX1ZFFpCv2FSrepQKX40TNUbHd/IOGWBMmEURDN5iZMyQHMa49bV8VM8iv0VDFBzE6PmGEf6uLqYu32vQ2qzP3GONlbUln6nxl4MIBXTYo4wSWNpAqCqZ8SQt2FSRn6hp/urACPY/UEJBu4dudUpXt/30+F5zaFs/uw1PCSrsAXVW+4fBnmNSh+MZMwOsuGH4nBErAtzP/R+dRfr3KrRALiNjFQ1J17VufKxjs/CDAmlICOmQFJ7S4+WHOTZ+ByAhy/Lf3dBQePsSLK7g/KitR4sjCgRIEeK9EmZc19tijOGHwx/QuWBMh0VVF+V6XJEy7CD46XsHlWGPZIMvQRdDiteREw2Dz0Nw/QWwZDOCpYbTa8PboGfPQeJNsfNwPCdCe6QuktwZvLwPC2YWX1niW1tP9fKyd1PO2XiSOGBLopHQe69iPfliwQD+28jjDW45a1XfHfG2mXkTe5KQG/f3gIO3ZxqnjBEL+tojAcO8XP/QIG1rrFywA9OpGQVudW5Ud+dNsqWv7xcCZAwKJ5949p5MFD/8HYRXvvvHgJcgsq3DztlkfLq6TnQVvGvmewk7IfbfB2SpRJsxydd2oopW/OHk3sqomcl9m0+/JC01XBnxAJxfYlFxkB1VasFZE4wOvHYKwk239W7neY7HsQAQsRL4BlWeXVynhiCnPppJffPZct3vYJZHpnzGOPMkhOUhPqBKmLsvSJTid9udXwQD2QjlziWJIaBCPWSEJ6FPnFn7sXX5rhvm5Ta0zDAIYB/Q2CIl093KQhYuxWbXv4IeCo1fWw5eoZ8oe+D4GhZ8exmvpDvkGwgIkByICMVq0je/PJF0rQXUnXqChnbngO2NAH6Nwt7vHFlKi8ygjY5Bi60FgGgZlP5ilJd1F/kUkopgz7OJKvNZkvG8jLfQ0OaEfEk08S/mdcBIFOk7wBPRNkePDr/CQtSZ+ORCGdphSVtqMI4ymgPvFsX6GrjY1KBuHCzzuhedygoSCHSEWtrhptB+y8ia0fk5dUTa+SVc/Hd5Lu1tVBB4MeqVzyv3NKO4vAxW5121pPywn9kaQ9J4u4lGzo59JE4TVjbmFoW3I7E/Bo0YTYSeuGPt/7v7xyQL+ee2XJRiIbSt1m/oTaWlokIJjSUf8X1yrChmS2cgJ5tLF5/+3v4EgBFueGfqhZLEZYMeE94l1QBgWgfZbmPHRnOqkvqhomQL+/7lIsFLKFyzfu/SeLqwGT93FujKtH32JE/3Ou4QUZOeju+PtoPqJaFzXBuAWrPFeG0MXmPkdRnzthV1keIWpwmdFmnCs0VcbX1A/i8XdoksGg0w1OjhDt+JxH2b//pJidpQzGmmKajwOxWcbx79o0lLZdJeOC1KGOxtNsbozgkte7BhGM3wE+voxVs3IG5g539XprPcV974P698ZJRyb0lyleIkqGVB/CF0nVUUr7QmmZynCrMXxYR5KPWGd23+qGLvSj3BO/F+W+mDterrA2pdaZKJjCV/YukpLs02phIavp+QA6PmGrngx9QVdf6WtRyEomHz9Ma6MqPcdfgGG6GTdtVQESIfNId3lBjVxMBBkCuSL3LGxiHcNVh+K9FaUvym4xrluVo1KPaxyzMQGMYHcokzsP9JWnqb4zZSwmkK89+wUU3G4P2eEk9E7DDC1C5Ij7c9KoBN/awh/IVQ2KIipeEZvd1vj/i9cXDOAOq+mBuBmEPORE42647gJvpo8V68yzIrpr3bONl1pDU5q77zIeam8hzue8jMkIISAsg09cKxEpVUU4UCuI64v7IcDLA4W0Hk8AidKrSxn5g7u7jA9piXAe6ZEmEENjYQrpYgDZqZ9Jnh4m8dmgZOsp0aIFhMDQjEeI56+70uxD4SNFWtN8jSjYINwq2/eH0B1DZKtyD4qKvXG/yRcLHreqa/FvlxWg9eHqM5HMX9ZVPwhq1JnDlMq9liIUostaPW4cRIBRqOu5tsW3o8siBkgReVdUi/MpaW8ANS5QWiEGH+8CYhgCgaw4gzG29wDnOgMfy/4+wDEtBU1/N2Ho/8jbgWBT8cLcFGMtuANkrB2sgg9IGMGrPecvhOdB4Ml2JesuT2u/cLCtccwjRFsspww5dVg+jWMbAhJoqlLmCNXoF78tHmbXTo+PrvDk3k2FB4Y4S11neeu5kZ9DjQ6blNKrwp43/M9M6XaQsK6Jfz4CFkS8DbPRtnqqzbmYzHuXAZty4sNqvk72h4JLueMfKwI3TYVaGkNkdrIbfwXoSCNM04FgGKESHL1URbkloUrmsXUv4J/D+q/sykjJFtogMLp65YT7VEHWEExoAHTJ47p66zzWjBunyNdotcQ0n635j8XEFKNxKjjjqjDmW56rWqpx4bYJRsFnOXZFbgvTHx671nTJ1gIy5qjybDGmzhmzbYCgyOnCNwsXAGV2r8Amw4FyQKTAQYYAGeyr7uWH4WPZ2FN1s6MEy9XTFxMSsy2Zf9FcEoc/744Dhk+KGi55cEwxtw1eJ35hLQcV66pZ7R/yzur6afqdbV0mIyR9nvU4RbiV30BGKfu+rdVJiEjPDE1zNbGVR043BK20Mla23nHjOqz14d38JMno75xoH9EAeho6qAfNQZZXyxqoZTQuLPZ28Xc68B8Hz8suQYtphey1a8Hf0M7fppo8u2DcB8XCu1FgQlEcongIy229hBCvk/yc/A3I5jfvkhd/vLohELyQZVBpYZGrB6ngg5rC3MZDvusU4Tf6eR2ILN57rOfbRiEnXxEvakUgZ6nvKGGSn2yZbKv/moFUIlXvmWg94O4BUE2Xx/EgYg4+3bD5M6XwYov52yqxnO6p8ghC4cjAwCccEt0AbmmSxSTGzRQ2Y17BowU6fWkme1J+XeTwB/UkSHsR4eInRvvtD2UkQZOrI4Ru367QlSn4MfIAfK+qBur9ohfyA2bPgn2iDmrRCsTfxEsQqazNfkXRQtigqMIQoC1bka5KMGS/UrIbE59rS+WRHRCiD2UIgFMkGraPFFcHyoPr3Qy9QnJ2HG/jfqT2dSW2cDy8BqaXmnCQWmma/vYaVISGJcW0yR3qsc/ska5q9jbd5tKwPDuXwiDd1LAO5BSFU4TZxIUACNT7Jo67AA3Dg2q8HdMspFeA9Xo4icWvj/eBw6P/TeA10SgYszYIAm5oATrYt/ilj0rPVykdhnZnLmxtasrLkDCYwzK1BnfbLd53QkWJXQT3Hssk2IYl8G2Eh1113GWIlSfZf+v59bkP8j/RT9Wz7806gRAPgsItbT8KJzzqcTBFWgwkx1dVJ73PXlHyU90MeWmFTYluf4ZGYfXbBlWHNqa1mtinfAuQmXppBpE9X1zR4vI7JHUbZrZCqoZd0pSdPjlPm+amHwNlfhTZYnbV0l05ZM3ikqOonvyh5cZ/zTd8K9cOJCIlrzN91ZAFam8vag8cNwoBKMwB2hO9bJgHvhQCnNrR1pNplI6YhWUEo2yCN75D7XbioZg86MV1plIPrZ9IJzpkFBj6sMbKGhmzJbsytkQg8L0PryRtfa/sKQBaybYTD0Y3+niZpw7uzVi69rn0HhXOKUw0zyQmKjfitThMkTcWj5k5t7JRxRvDcDtcrDeCmzZQ5yXxWLvgBUwVgqSdwCvA0zzczx3BMfSpLASk/84g0aqCjtJWERD/LpwO31cu94/KGTqCte3R3e0aI8c4bfLE7S3oJfss+omnzIN2bC2jQw1PyLNbFzOYInmVjZJsBcwkKLL2Hx8sKyUMA8Ny+5Lrd4f8qeBPaVrJI7rVpHrHBHWB0pMfwy8aV9KeCImirXpHxVOGRFK3BywSsh+cKYBzEEuVWF7wVbUlS72cyQofGeuHfftBTt1f6VKLuPj9SyCIxAk2bgG328+eZjzJsIbjE0FkaLNz/4wThuRiZL/5BZolePPuqbAmv6q18nN927rBknVzXWuorcIVMZdgYNWJ4boB+jwOlE333pU32IVzydl1AqTjGrYeiHG4uMqeTntwxWJ8sJVNMtxJbcLkQUjprkAEqWqWvHj1fH8cdWqx22G+AF7CXOi/vmAgSPzk6w/ylwAhbxJbz1N+Nhs11VogzoB/YD4CqYBnSe+ZC8bTT/SsQcoTOVqw+EbESjDf6bBWAu+F+vg5Y6BWGbM/tGAMbOfvAPF9cN6d6gyLOtWjZFlvf1cnooFy5jWbPNz48xCixZ4ZD8r+o/UbZ/81E2RsLCh8wAmFV95NjEA9dvgdoQq0c/QCN3ciIEYgJvMByDkkpHxhaAFKKNkvzQ62UGFno+L3iDHE+GLkGRex2wOVJo0JRFAqoLQTOC7LND8HAeJKdKUi9Kt7WIIIbNnrOsjBjY9oTg+xhqmtLKEPJXaTbLJ7I6tcceOkEwZW2tUqDnqhaScLaezibnN7V0zBBzMM75xbWFAqhccLcJaQfnYhVyqJIy4rS4iEIV9CtCiH217a4PLIgk+UANE6n3rAIjGCWkCU2kh5VOliJ86H7kDGwmRJ8lWMYs1/Jf/AAKDSeSTCouE+9uE8DS2ZzE0beI9+U0B0MGrlaJqxY2ue04P5hloB7IJlUJYHyTbRLJ44IThuUyiQ9uiwNwzUJG8JK7Fd34h4xkxYA5+1E+nhCcjdI2Q3AD960qyC+RMfusQsE/2nvqy+X8KHScgOA6GCo9KrFdN6SHkaRVmEPD99RxflECGnehDkafAkZakIZr9FlduQHNjn8Htut4rH6dujhvsy+p0/Q0LyBcA1deWBvMAa4bsrpY+WvgHt9JPcpwH95QlWANhhwH/NcFn2wGTCkUSq1SO0Pw3DlDWKku5mz8YTzEsZlbHp9GqqAAgDklrRUkfrWzeLiNwyL1oFZ74P4CcuBGSFXw0a1ecQI01JaEBTwq1X6N7b9aSdx0987LjndzF0cDKitrGT5Q6WiLd/400JutDwV/C2+itbBSJqWN0+gIprRCXHrS0Q0yCEULDSQzCsHd+4UUnUiuuRoThp0zLT0ZYx3Ti49YElQ4VliSVLYo8HBipXIWr7gmX8jU/azIpJiQSqEsD7dcPVEWyFs+JRdPpCMZ8WFRfCgXIMAZ3SXE/rSSPhQ4mlQT0D1BsNm+iXnhxar0OhiSHeTmyHR5zldRGPUyW7bqn2STlw2SI2hTCtPdI3hFy1yqTmAiYPgha73e1hPySxhQlDT8EaozboBjoUbAdT8rihtRrFhSH+B+cM/bujz+Qk80KAaUfQTVxkRBt85WVsX4Hjr3136i6bqt8PdTrAPpVMKr4T8akTlDg+YbWE1F3Zzf4VNGn+7R5yIEAz7cr7lH/Q4B+ImzP8JI7bgJXsLn9Df32AQgkkHNV56Xg1fYU+/VPg4DS1YR4f4jgJyBhQ6PI3O90wnSBL/QqTevVBcWlgKoF5Ac6KDTk1isjKUAxDuZFfi0ZFnguFJR+YIZnTphXPr2x1kPpc6hkgU8IHoCdtqsits3ns3mCE0a1VcRC3ezISUb190u3EA62bJR8IamRL3gqkeDm8COUyY2IlNoWKXRrL5ogXS9MwE3IvOieA7STpCAdiJq0fz6sOc8o4Pw6UovpRIiwTQkAuzYc0mT/vyv06Yh0fj7DJ38UNoOFj7s9sYf0M+uDrll7E6l265VceOyji9/bc10yGTBT9rjyr3zOu9FmlhOD7RZNUmFfk/byrKbRzyqo2IGjc3veeAzPMTA4ia3TAnFrtyCgNfjuy9oFUIltQ92hXZeIsv7eQnVkcIo9M09oF05bF25JmVjU/YGqomYlWOXPbfBK1IWB4B0VuaQhtEnJf/WrLqaZoiQiwHeCAwrfp/LpDobrTDK2jEkZS7duOLTztIXxFG/GY9aJk6PRku0T9n72INTJsumwfL3BGqwcCyN66MkgpYN753dR7PBs6uoBEe6an5FJhYDBVJmo3XMN+26UL+22z1RHdHPGXPoQP3nq/RwGSb3mHxkj9QPRUXBGScwHIBffXm+SB5r2dLcW6Lzo0vF/89Ofr5ET9YPaeeNNt24nWcHBNMBdzAbfAXUk7rXL/+qFxOhw6LLZlH9MvxDVIl2VtAl6Kb80tisHdGotThZ53QZPNllmf43AtX0plA0CooC9nkWSsccL2YpADKzwLL+yafeg/8Midmv7CKtKG4BtdEj/Qh+fSLiyQznWUG6BAm2IMjLISYB/3Tx9Xwuw/rhhALevGmgOVTUdldpAfPISfjmGJ5iJqT0yxWvDBS+J4GBzDdhKrh7PmyQZ5SrTRydLTvaM5vx7DTnjyxcFx9ZUMrzyKhinqmgi8CDYAzF2yrRUelPBP5jLc2ERWnqYtiMlyDZkw8RDRd88gbE1oBYVtNLqjk7L6tuok73uyvTOXcH/y6eEENbgUoOOdTtfrLW8poxmJHiuzi1/EvQk6q0s5fJZ5AGr1uK8eafbnd3Q8jCHWBC95hAyOm3yhdkKx52xqaQoaZ0GDABQhYaZDhL0+Z5+bDlLFUggUBonLMUg7OGrJm4BTtaGoJc7hip2hd+LTHAPNNj0vpxxeXG8YLTw6dXCpgVxJGkSGI5YW7yLK7+xqBTDhRyxU9nK293vEXOhUXKXoF0nTYNgkjvwNCIa8oRsCxY6yCezPSK2HfwMHpwsBj5uSjlQ/MUz1Dkhc23O3uqJISTNwANQ9vH6myY7ik/NYNpnI3xSDzhr8+oOQaXrNcY5gY68YYB0xBB5K7tBc2aRIeumJIF8lHZZqt/gd8wsPfM3Woh9v6HaMBEfpEhXvlXY/WDycaxJMFbNtyN8urpZWs3L+DX7r+JYtqSItpltaukqK1j6PfcndePpoVY9qULWEp/yPVnxUNWFQxgMev8xnBdQ2a+wqr3M8gLEFHy6fxKPAvZdWeTe4UpFmBtOdbxal/Sz+CIBETh73dodbRDM3EwW4xcd1lAy3GphfmHAZBBVKrcjWB1IYuGuL1epIqvKZ9mOt67W2t6WNyBMU15FItoslow5BT14zO2lxoqChfNDESId6S+FICdtGsyxqNBUP6aj9aoXgXJir9QJxfmOfgT5c9XPcNO9wpCpLv8yz0FiQG8q4kl7tpWUUGGhes2pcFUGf7IvWetc0CRO8sRoYWjKYLG9lYZ2YHHiYyBG3Wtia9CHJNX7X33gJo9IQNuABw2SsVl7a3PNIDdNM6nnl9r7JyzYrBZ3g/0aCTRu/gtWTlGYsbRXhRNGwQTsEvKzBZXstWYcPrPQdfFdwysZf/O5wUCwyW2WkKOlZWOjO9tg6m7bACl7CAV75vMei/+R1jO7vrO4ifLfbwrY6i/JFzH5Uh6RD0Pn1dxxeNBlg2Jd4P8e7Sg8VhIu5iM5LwAZRJDU9TTkheitGHoMEcPapGT3KEyWdkVwgGo5CVfZXXJWKSG2tV15+YC2llFrqHDZpNM1QmVusgjoqfrw18Y5bdsQuLDR5J+8COPt7EccFGd2BETKZhEdhqZ4WHXdrEqol9mdNMCnKioR8sDVGNOdbxajmcc2hEGW04twnI6nkxNRdoHH0xz1haJ4YG2vx7tLxMIpXrpfnMXxt+6zhBpM5vlx/pthrRuhX0KGsShEOcBbw5LKf3teiSI0vm4R/APWl8ez0lD1AhMrcN/RSEcKXu4gPfscRykylg10Sj2wIQl4vQ5G4W5MiGXJWfSm0nqfa+gJwRh2EniwTFH4WPGNzH5aFQjNbw4vzp8Ucrrb06X3ULy9S/nNnz45Ppd5KcTbK4y10+jEz+RwRDEIFc60xJNkfnlcRrKFmS/mc13SVrPi8gvxjzUWyiu5U3cIQ5ong7w0xP9NWanSUL0ZcKNv2LHX5AHi4E853uYIO52ShgvEZtMjXm41c3KunwIqdapGJIbSIAPZWGJG+n+IrYAHJzk4fMenGelTXV8F/F137Kah1sf57r29QH6n1qyBxtVX/dzSxXwc5fxsHLqKugQhvi8zP2GPaS06neG5NP/PuXuxFUUUFGS2lKUwSQI8/GyxQQnxPberrZdpVtfFUFImeFfyHUwS+B65xsSLfsiAI9+UV4OHKCfk6xjWUynQ/SGasiuXU6efipocFsLQJ9g5lXqnxEFc+ME93wzqLMrxeXzpla8irNaRXN21qQjfsPYcslAwBhWlmPVLpA7vZn2zXcbqQt9M3IqGOP2roWMtBmza1TRjCu8W7xi3TtEAOHYrDN+jXRQwInh0K3PFcUAV/7G+nJzH8Uv6mNpJt/4MsV0qTg4ujET1AGZKZxzhkvUCqvT6XSeuLKvnzDVDlb5UP9totSe2kSdWtidH2Uam0luRKQJwppJb4+Ci1UOASN2BycdDdjt9W32vVdpnmSxkfz0JHOU3bgIdrftYnfdlGk8uOSGuaWp1aI1bPPrkoRgOyCqmrOMKY25N3C2TS37ty1gAk64+OWODAZHLEkbrQi0td/f8U+E3qke6OGYF8gen6j4qBIFbqvaONspscxCEv/OpZxsVVKSQ+eYyYpkfPovjLlZFBmjbSXq2G8GpuxutA3eHI1fCLjQY7K72+w7Bgwnp18DaGtEKlL9eJspQuiZI3U3uMgLeEznvlO6qWYDCt3FIiW7k/8V3dsGIb8CZCVbsoYy/N8bKkEgS3s5nwJ9Ps2VUdEQjS6Ppnt/vAidlI8qspWmG65fRPiSgDtLqA9BpjEQWy6rtc6uID6UiQhe/Eho+BnDPsDAOQl4yBtwVLcL7Lp7I2h8IczCUoyPPNJ5IObhuucpm3rlrVYixUhkHAST6Wht2dSkTltAy4UYxKaFvXZ8S5T0I9qjxQ+osgYrMEnzlzI/I+m6PPy8JPgCJXtEvwwJQZ8kGsvvuLw2jmJJReW7joyVw6AFml+nKIER6aPFBM8IayOW0hhdNw/gYk6YYMs1GmBrFy1PR8/ib696nZnu2JQtOhD/BRrn4w8e1EEMRjGi9UoDXEAHqq4YLZVnDrAes3F5qu6DG6qtZtt/joIcNPYXVJGkfPCAe5iZpKmPxlx+IyYoP2TJMqNA30Y4Awk3OPXcD0a+17RoCIw5zBV7Kx/AvvjeqKkHYUUoPCfK14UeIoYhZJjrmlSgUyBwr57E3bjdUOhYZDaA4Nl29dmARwzykm+ilkrm1xsVvgCsIi01cBOq9r5hl4VPmquFx+RDgzA6Y71k+3RS32N+4QRXFSBXEF3q+u49d71JSILuM6+yzYVBTa7w2oWaWDVs/mCdxP408xOG80Zhwv2LZ7FPoFX8QA0X8ak7L1rHvmvcgXKkTBUaan6y2Ql4DfE13Y7ZJehd2Y0JhUjjxsoOTgZUf5DQqCJSRoveGABiCWhKnCW9GqFuR7h7EpFlZJ/B+ouEX+zccozZPm6CBDsFHDO0cZyEPaxgL0mFMWUwD7NWnAHhobjOkX7QqoN45R2/+1c0sZlpY9zrlm1yu3Os0oRYJU9JAUewTa4gmv6FCOFFr/thhD7ijOiVLF5UJXzxFcpfw1arjFH571jKKwtOWR5UV5tehzxtLXRa8bOSWMBp4TwuWpDkpTTrpVTKHvkuPUt0ps/GR0A/pP1afbpfuY4S+02EsBkar4R1bdZOkIbDxtuuaxVv5E9tTrAdLGO+mdnAiBtBPYkCmNZncxTtiFONaCJExgdYNkD/q+ASnJIr4wu8p3n3oHdNdTH/C+ht5M0dro/ahgMt0dxYiLVQ/+06gnEToBDqfH5Swzzv/ottSz/IO7/K42FDa9WtN1uFWZ746E/zWk5tLxZaFRoo7jDvcuHqA1m/Zm9QAo/u33z/cKXT1KFW7rsf3HtMDAD3OaWcmw4anAWKei4tUTZRV6QWVnBWi/h447qmVggLhWCVIctYwPhhIDnVmuRQFyy4dX9ZP8darzMnpmShouuA6jjPnRUtQeD9/JymJX17dgwrU8tEr4JyJ4Gawej1vAmOKzd+Gse/PIwmr3WIhOezULvjvJB9Ay3G2Jb4nFCkmXcZlopv8jBFvvTv76L/VxkFimRh48mjQjV/4rAQGWTa53jWf31Ep3gB4nVxxlXH68bx4XXu1P8GNYGxyyi9ljcQ8a/FU2qy7rBuDTLZtfnWvwn6V+gHwbneuh2VLa2mWhjAa1rcXoGd5vCaIt4kFgJT0ezebNcQZAzcAWvVqfG3andGmsiikeNH8IwEQwr1QdzxbqskeuWC+bH26ojYyqO6MmxNRKB0eFDPjyn1mDNd0BFuGRPzkLWgQWRT0JetUJkIwFQB+7CBi6r9jyI/0Bxu4IH/T56Eoe9i/9sypwdObe6nlGlbPnc0BlRBGTqmwcFCqd4u5Jwpbs9yFExTYfZjHadfLkg4ZBqybPfGXmqoPRWp97hy35Tcwe1GBkt1S2A0gXaBB3CLpyVhJrDlAvURvTOL+5aJt7cFz8i733J+XiEBMl5VmQmUWFsSmKMzXkNze+/7we54r6qnY8/PGknV9oVqTh7iJ4uHN1rWiC1jHdfbBfOsbAiuds9Sx59cl//AMx2YJHCNvBndA0lplMbHLSCuS22oIiJemH0RIKGKOBX3Qhenfym02wR4Xlv7NpIQx4KSdxWgJhwtEuwVF7Aj34OQ95TNxOGGJeblmEuldxngX5+A2f4QYWHk0pW+QIgJNRf4Rad6nlhFgXk/kubR7aiQPaj623HfOBwR3jvCNe6GJ4f9A/eaCaDwItgTvHkNSDSFoDnKIRoA2Deyn7daBPTkeXbmM8fpxRQElj4P/Fv//fS1ACgJRKodnULEnDObwJ/klb83NRPmqwGil/X3N/d7AcW1TA0/pRM43J3O3w+sRrvnT+QLiWsS8dbK3RGetW3B1RVDmWimzNgVvkg0SKxSUJTkrnZiUWMcex2PiVOnmWoCi0h7g92Uw8aXCc3byCEiBvWsw4MzuMGoQG9hCgEw5cLajpt1Y7bKZ4lcihtE+MmFRsAjgORPshTAFeDdfxTpA2YRXkkjhbrm/wsQQqcu24zMSBoMocSJnaw0f0S/AWq8fqhIibCGXUXz1PQJHNGaGFKBID9RTx5tri87OgorkE1t4BaQ+FU5JmS8Nh3z82TBFlNzZBibHwmb+xzyY63yB+FZmtGQDXPDJC+nFV5SC4wBSoBt4/Lo9mYXgrUaWRKsaV7+U+nM31WNyuO+wyK1XwOCAISJQJCAFOSsQ/pK4qbyQlf9K4zGLeimAihCbGZA1xqotdXEKc3oC2CkjhoWG02ILMWkxY7c+LYEFhQfAhFMTXdNu6uWwO1H4JPA7bS6MH68p7XFCen+8CZrYlMBqu4o0V2UDtW8LFEQFE0cR8RobHgeLhDwrYMFULy/LNg5zxbesF5Yp/blHncN6sV1xkDL+bJ51j21lOdTTs+k8jTfBseCAsvLXGvfEs1Lp1g01iJIV3DsqrrnI7BHAw1vj7PRLYekk4QuOIj4uaUXyNrAGAxnW5OKD9TB/gH9GE+a4J+XZUMgWgHiAxsZLdXJ9eYt3B7ZAlxuFDzaxDi8uUNv2dZBqivzy7ut5bhM4PG0WVRHPQsgeXlDReTLWcUrjHnt48gu0oTkmz9eg9EfyCYpkPXHYVA3I/HuOTK0zgXQJmgstkob46AlZ25HOEeW8VarCbQzgsD0mlJoVN9PNHlAVt85M4Bfg+Ud86jgsgFnfWmwCDzgimpVt3aerKVBr9u42l3ekWWTJ/JAep5+v3eUuMQBGZvOuN8x2YN0jaOB8wbxZ1PGH7pWYxD4lo1+LmUVbqp0ROu3985a1mgWFK9dmg9NhlREhmIJCNpdoTZVCUezMk4XB8s3FsusVMWN1LU1W0zoymFDp9TxuT1scH6TtLLskmUZ6B515jQI2cUYgkb2QWUMOy8Y86vJK5ZW0JegvQfbpGk0eKNwPjS2exGkg2ukXNdm2zO8KLD+nekwfsaeHPQyPY+Z9fbHM9ceuc0h06KIuat8EC3C5xGySNLx6nSY4b72YvZDAnrd8cHJaJIAaHQnxFU46dSQRAFqBOn+5zyTJF8v28fBmdVZMFv5ZFuUX7MnYEDU3PyDaq9IjgdhBdjwCBebrurUPaTMMGzvb/wRcJYettvhQeOAkZUTBgfetWlpoRbOUjd1oKwdO8dhnA3Xve55cOO9+1ZHMZvluMqCqEira/IOLDsW4lr4WWDl654vM/DDjw7w5zAe/6TOgkK8RI4gWDYk4Gs6a1Yaw696RJgH/Amcxgaurg2LwGMezjuYy9gcq8Jpz63lwGqxzIC0ZUZDVHsQGypPEtC4G8g8cY/NBNbL18DJ+IhdZ7CeK/aK/oqxohGW9rla8nrioHnCEJ1+vGnfFQ4QjExl95ptWuQhzYOYaKrBg34OcQ26K7uCde9IypcspMNFWuGzBMqZ/wB+KfGIVQgOiwQc9xqIJ/kbPzYnLTtAKY/nN88eI19yHgJ90THzH14Ib1MqaXLS4tf3e4OCjj8uO50bEV+lqbBUSzf+qdfvfc0W101aFsM4lwM062oFeilLxJjvNNk2LrtB7ePvi+K1Z7ZPX0QeEWo31KkBUqvGgX5yleYsCNmgY583sdlhIYB33/umBz7w3MNn3WYUo9AzpFYViRabGhSwZS3KDAGTRCzfU7VJDHtq19SSTHicULKVsWKONCtK5kOZu85xaQtRqnRneaUk+yyUhZwLzL1D8IGB6AckOyPoUcYSdjVmI3555lB8zi/Zj9G0WpoDer/QqCdcq/jZu0AKTQENlLlY3z8jF+Vw29J4VElJkjn5di4r6yqbE2lU+wiCY8RZmw/6y8t2JEpi47YetaUI+Uq1Zc4e8s4dfpOWn4gnuUVDZpeAIg2OMhPJoK0guuo+2VcRL84ixzJfAgvUoLa98qfal/OZxxa//iNeikVvg8lBonJOTsOTuVF0wxbLk0Vct/3CyQWdBMeI769PCWPjPIWCbW1h5Ignl+iDSsVg6GNCNj/2mFKUFq5gqgV6aLVHo+8GPBvCw3HUThwxU2oyGUTmsCvz+dmcAyhOGJ4x8pHKKnsx5h10CQIm+3++bz94bYl7ifRyeZP7Re//69/Cs/H67imzrwvfWJprqiOzCve0BvmhR/bQzKzO0pWv/f/avPQT5ZOoIVICzClOgkv+vxllBnmzzqWtd52QEOtw+zzXzENjD5usBPo9A1hmiojvsBbL0xZBzXGYVEO9lHT/0DSRG4G/hidSzKfduUu6t4hhnqJ4u2imbiIAjuRZkeNyCdyj9QEJ+bgVZt9O/ktHXcXD0k/R9Zk/XmrlFDZODesiwSDKP3v3H9PRVsHUG08p44qiFx7cY5yHTJJFiRViEjP0P1R8erSWQwHHT11pcwybu1fp38GHJ79KUBwHfLAajgJhF8SJNSHxnkcy+R3obLX59tfknU+eAVIKBJ6nbNRLM3CUytDm0egmVfyU5vDOyAs1/AGjhRr7e37pb9XDoQ+oyU1+nupdegtsQWoUCreMMs+TOBj2cfPnxQMq0RdgNvSK0YexaJCU94yA99Wl/8yfG21u3PtNWk6i99Jtgd7DpOzBXjYvcadMMHAHbxpxtJJE//UEBFuOgm4UMs9ox+speCyIUescay0ITuu3NHGdDQSYfIQ2lN7ReS8c8t2j+iVYRJSCnUW2JNICDccETELO99lwB0bgwxTjdjiIU7R2qB2v1pOtyLGpb2wePCVdFx0qXpSflbi0Fl2FPLWjjB6DTwGgiiQW+fVSADwuu8xw8f/tOnpHAQTbUt/OX4H6Ofg1fK/IS1dc5iF7Ktuk8G8zPlx6jRGgdxXvX8DeUHpg3jJPvVtFdXoU4zorrM7OccGYH9zt66IFrjn9EXrLRr4WN7R/jo4FOY2/QK1Pdx+zU5EgxVi8ZpLPypWw1eqfPBYqPx2uyiR2UqeLZJ5K/ujBUY8s7hVSKETe9v+SpP+LmUm6i2KrhoMpf2Ryg7RnX+lbNGhi4PcxXFJBCAPlqQq78L0yViCpXYXwqQKzxxaza6suuk+AkOCBGCG+RSNr8mBJOc8Al0VL4MVSmKDZSetn8Zn7A4eQiEJuVw+SQBrOz8lK/TP+keKBfW4QdCsK2NDsMN62gN5yJkcFO1LHY6cAAGOXmMNE0zvTdyPhOpehLYJZA8WjrMD0uksXcY8h9ZTIaTKbvU87Kf02c+Ylj/zxmEH6ROL1ty2v159ukDwwd4iL9mcVQj+At4P0WSjl4ZehYuBICJzR0SCMlKdT5fKIe5ON3BHZG7majTlK6U3J62LvbiW1FwxJiU9qBAAG34yLx+RTRjlSXoIX5hUmKHiq48XNIMIuGThQ7DoMECyc0AC5u/4PNsF87KnCQGmruMXPm5IV9ZhmmwvbY7ND0i6CnGH7/bZYiOyKiYQUWFn+v7HusLRL/97c1NIznYS1WK9X2FA15DhpXW9R+dBJSK47jg4pqLk08CWcBfPEH9M2yCg0Cw9SCfe8BN8gQo5WtdYuUh2bNExDCVmYm9muXRMeU7avFHOuiGxxi0NVIWUVfYj8TQ6AWybBdZDmo8+E3BJ6f4ekKrk5sXtV1Kyt5YEl/H7HhPuK9DrOsreBSb57WELBMn3pBaJJH6armMB9PPeBePyK1VfegC9UVbyktzeDc4KYVB7rxJAi3Si6Ukl0/w4gHG8zlSJ6Oqq2RRVXk7PuqKQQ+guJ8+I+ZZJL38ehjiUYA6NIOHmq1NRwiMJ1pF2E866rhnq+xyYK9JUZYSojf5De/Xw0+5B59X5TxpuhH7aGqv/xw5lZKtZ4ZddfDIzZjFrRFrngNMpQV8LCQQ5Y3McZW+kwprQSovMY5jeW6HsgjSZf/eXmQ1qUpVO5yzcrRKNECPQitW/G+UlSJwwlrrtmCLSiZMCy2cqP6sXvmgg4Isu/eXnYJpOjGvgiUbwynfHNx7jbA6GKLNOvC28ZIvdkPp5dDcUrSy1XSKjAltTKt9r+IMkzEz6BGu9A6pENv6EcuakCWiEMEPqTFf1ibkm5olz8o2eEcWrRu6hOxPqmQBphzWi3NVSYepTF4lTdKSRO4XJh2AgAAIfvgFsekr7ZyRex87NGmlHtU35b1aOVuu0OsC7XFL37y7hcluPVDNCQ4q3FA30EtNE5BF3oZ1m12WkTTL18zdVYbtx2OIKtRCWpCsVMDJzyeTrDQjc671YW/ebvSPj0C5kXF9Pvi+ODukc65slsTgz2JQsXKLTwmtwlc1NIeqKOUgkIVWOp7IX/oMC/oSRazmDz5nKwfZYS9NY/CjeCuZSSOFbCtRSm4QYkwQnxrWbec6H1NuNv7wO0pD+UVhajXPE+D8BwEZu2t41KXl4L8EiN9biPVACUrcJZk7Xb44RgHha21KQUfwxx6kaHZ0SqJ5cBMy1/d+orDzpHVmVpcvXTPIJLBxEsjewjIv1mzNjHzACv6bVuOPUYO34j8LS+wSPWzGXroy0b3H9YkpCSnxX51M7itox54QBUMdcuRNxgiFHmH2UTjpjD7KzlBwixQamJXEPdAFmmnSmANsBCD4iM7EuJhqntEJswVrVNR5zJLtRNIgIlNH8l7YZVfay+pBytTB718+GcVoWKVYhX3o7coiYmfVe6JYeowuxWdZfCvYl/HyiAhsJhq+KvtSV4HRkTAutSavqB2WGjUgGXW6OpLFFRQQiSASWvvAW8KgYXpxDygewm3I9wa9iVfD/gzTZvjqncEIw8uAHsYaV8+OipCYIqsnlS1IDXLZY2a8KyjR88Lr6396FYOpMqarlwi2xY+JF4AGU/BLSEKS+lwkZbfSTFr4jGFNfBlrhf8uCEfFh5GF9EMI7dkW3gtSaIZ8duZh+PhY7Wi5UyED9NPDE/ahw/CE3dHDJOFHOSVPR8A01Zpdysaca4AMMM2aO56EYHcPzD480VTyAsHxRAk9QodnOiZzdCLdbX21dR7vrCXkEazE2aaj2zWTSx81U8QkpdzTwL1DbsKNwXe5w8lxsEBEw6eiHKEV085eiJ1F3I+Ojd0D/MVCOGAWCGWbDi7AueK3FJUJgXnmKGx7nz/5y+87nKarM9TuJdGSL8dbJXVuAaBmqqPVVqGk0NcWe6oRQjMZXJxB75x25KX73CLpEsZnL14UZ8lYaHnqXiUVT/exuCZvzEdUZn3Uwj6+SrYRcSDeIJrKTcTR49aghim4Qb7VT2t6XOPX98j4xhQS07tw6gjWV3G8bHdMu+NrCe4YhijV/rJa13XlgToQNW70YFYZZp6jQnAOYalAPk44AA94KglqG2td96mACzUprWICYqrPSYjfQY0RP///Z7sND6sS91mN/ep2p5rlyrk+tVOvlniywGsg9Fa8HfpoMjZyjwFSogTS5mJZ2pCUvXv3BnFp5NWAPyZu48qMkGFyFiPjyPi4bQx0LPKeYCQegKh6OtywHcPrQc1a5ZF7DkFPGeNVgthAIXWxaXILLQn1t+TOAb6FmOTbeajuY+qwKtJ3JkLCYWZXv5JXEVGbzHQ23ctiMoh/aL2uHiz78IYBh++jvCufKrYUUm462uMX/TfLyfs306N5U6wHGXocQju+TjF6llxgTBnxbJMd691Cy7nYC1GS7hFpM/V3UflrVdK7UVltI032O4jcapDzQ65cgxgzH2scRgbYtsaMLixvy8B/wBMwO4N6Ic4M6ZZHDzKYUHESL0+c94FdlLMPvGjmSqBrCAPBnCaUJkBF5y9FqnWO7LWW2H7gUSEDz5pNjELMAKXfddw4Fm16aN9gRUOaPJtdOV4R+EP5Gc4fZ2RCWm0wcjUpuemcADe5WrkG8bmxXNGD8t+MjYRewW2JD2jRPAr84V3i1XkzG9XSxkabIbchjDUgoc9z+wVNTJhf1rm7GgZ7CZXsgi6YLyNBZTo/NplCM5lVAqJ2ZpNcfKl3/EB3Md7LvBikwQ5eN+oaTgDDiBHbUrJ9G21D52HvQHoaiN7MZMjrc8/ZTIKqxECd5A9/V9FYgULUeT7p5Gif8+h3TVxB8AM/ijkxFHnKtN1Jc0iPZf4QLMaRHDGiGxiL2oWBW8q1CnFdy7QaOxbqZNJc8T2qCyWVOQD/Ujuo/6IPjk0NJorLvHs9LH5zOmFHb9YEsclawKLvzIBDG1KMENc22fSsTMStooSNlsAQLsy+8kCjayAXCbnpELo3MU1yMEc6XITyNtW0BRvnOcJXLR9NHelRNGv+MqcIl1LPidn0KF1+7VdIS3rmsC7zuUXc6+MKzmx1sCuhZk0pv0jsOOVhbR4Ije8FrUBP+d5oPChIWn/O4NXGK0/ezPcLSLwQUegxoL6fk67Ip19syFLfNIXx0HsW+Qn7aUqb396iRZUygp9goyoDyVPhZ7zWWYnva9XNVyLT/J3C7zm3in/xK9UuWU8TEDRRwM6EgIyCZUhV/f/fIZdD7zk+mi/rzhQ3jL9RkM0Pc7vpSfkWwcLdQ6iaDQ6ffVTz0c5ByzENu+p4iKmbPWJrGM9HzfQe/D3snC7yvDmAcqkoQPRY2yi7vt1SUr39l162zV+x6xpES3py7K+pAhOgskRxf2PeOajReMHVgSAh+s6L7FAUiT2qfJi5KS+yslH/9ZNs7gi1w1RrfziSYMQrfnxIvHxuPWnLAnP0mbOzeEmpnWa1eeUVBsVyn9zdjAujxPb/rJuqPg7GB8w9quNk6w/5w/9kHdTS8QKpJbb85Ms3IH80a7Og7kfAuyXgNoskWGuZNYeaENI5Ijevb58qEuwZWCZAyDDvdwR2UOC7FzLu2VANjVmhsnm0kaZIfZz+59SspGhgnsQeAbmrlErI299jsNFWpKSHBg+jHXAPYW2iEldZk6IfTUF9RToPQzss7ajnfcxT876BKz56wXFN0w/ZR/5gsRS+fWK/ZO5A11aw5dVqiRpV1FsT/+IZnr9db0BOm4b+MwgV5ctvoKuNNEbchg5tR9UiYTIUHFfJyMKJHwNKIYV/n8XVuqfkxsGBGAkpaaHW9AUqce6Yn/lWlBb8p4zpBn+VaXBsN//+j441qHa1tlJONfdcw/jKs4f5XEDfejcTZMeaqeZiDzsdBD32iGwBeF0BJQtYpJhUo8im+CHaZVicKm5lF2MVqywu0F4bCGm7HdxbV5cQJnRQH4vV5w/NcoVlttpqmKKl6gOFP3BDJqOahuDY6RSTQOam4iRWl+d2nYIZG6HUWWMvN3+hYkqpqChCFohca82a9Jt5NDAeZhoZbQX23ssn+sfBACkOIQwEm2pzCcJxZ+7+tJAvnjSZRDc6XklNm6Q18E1cRvAt0Y+hBlrMdCKDZTsimLdF1VfdRvsdgJWRzGrBlWdzSfFWjZgi5Ak2pR08VrfLOzgKX+aL4FguoF+W4v150eerNlWBDgmujjUCR+5QBh5d4s8rg9YtKgILwvZ5ikw4mGUEoctlF53Y07Q4Hv719j9K7fJ9eOgox02xz3tMFqQ50UO370aCLO5qff8P1sMbB6+JBZUmqhzOZqvkEZTBhgsxFEvRVRdJHa6W7PRHWLlhD7xJatnLzEUlrimKbUyiBfx7pWzXoOUtrqX8/e5HCzeKjhUO5RzOB+jxxLKxSKxjAy4qgZWaq6fi0jK7KtA1d/foHNvmNHeXwDUkOfh7k8Av9IMiwuxU18R7epLfyv1m5dg1BoTnQpzD53LI/AXhA8cS+/2lIUHiuqRKappPUbZpMWEDCBqymgvyifGbEMq8EpbJOPhaQFqyO4tUVSyaLtJf9SyZ3q9mYo8rvM3JuyCZGAM5OL88FS2bYkIKpS2x6ohbIHRWZCPjEG13+SSwRkFh8xcKGs/smwBzMowlBoC9/LU+E86X7kXrJ2rmcwjL6mHXUAE+R9xjfXAfBKHwXYGJ72zeB4Jgxdd0Q6K97YK7Rx1XQ1bbqjiRyGOwYHDnPeF+96iYxqWT13uTcVkXt/T2u2eRyTdHjwyOb0foe+vkZh1qEQzCetk4kMk7Qpf/Q7MJaeeuDAvOenxblF8moI/r/MI7PRe3C4a5k389363cC2Svb3HSqTvbdQQ12UukdM1iovmskbZtMrKF7pPNj6vHWL4FlXn5hEdm6Ea22JILHo+c1kCKCAuBH4Ut9E56BDPiSL79enmsapcC2aYVavpLYDYAQVsfhD69sHKq3VoCZzPSVK2oGSWG/rVKuBcgcoUt83Er74Lxf24Hi6pz5yR9djvO7q8aKX6BUZm14GUDPC6KTcu8uvdCRRQtVUUt7zwwkv0BLVAaZ7znQbivUdkEByFYFxX3gOApZ2P4iAJUx+E4lQmccxcF7rvnckeBNnrJiADrmpLTsmJnQui7Gsk2P26F5JqByDiEyhNw+t7lR/JfR5oO/IX3luLFkeymeMK5kv4E2FHCzQ2aR9PUpclJZRfsoz30TStwu6YX5cfRMmoueIn1IraAGUdPNPWaXztS1htQ6Ro1V5jq8sAFBfM9RQfdJhejVEkLzgYD9Pdti1431Mi+57N32wvmwytt9rAOIuyCVyeZ8SMqiBkbubhi5t4QcVVsYsCq1ESdba8pqvZ/R5OSnkt3qM2dcOzCXehfBZ1aB7/FvB00msF0yVxwj3msEbakhJJx6fh2JipBIxvuf4bNo6Y9K8fsL82gilkpyOmd0wQA7H0mcKFrYXgY5Eohsu5cj/T4G4kiqt9n0r6yg+J6RbkcB8nmftkwRS8ecCxKTddS3xmNIktd5jT8ankX1yqNVvLlUpZN+n+qPzUkb46o33NvHiTuCSneKu7uMye5a/WcNQ3bn8r3zhYrz8sgSRiA88ZpLi+0sYqNPRSnQjjo/iGTUvazmNRRsYHawvfwcTrb2qtOXeFvlopEvzMDr4CPzWbSitT30RiPgujRFQ/sW2EPkN97Ur6v73IUQ+NVfeY6u3ItEkfqYllkge2j48RBsQIBQ2blM5y4ZgDubiHVWx4MMl6KRwWFkZieAES1UFnCxOqYAteo4F4U7T2hrW964AujWo0Q13B4WLRBDwctqth4E9TcBgTLO+WRDcaSx44EgK/uE4umn5OEn0j+pnkesMMDC5Q8V0Dj8hhBEeqpY+1uD+rOzBcjvDCaP24fXZhMvkd9WdOUSvr5C5hs2Ljka9sJXdRtkS4HAELWcXc6B3Qut916MPZzn22z2fDnqnBQVMjFUuUJulVnYri9aU1pI8oLHNDEE+DQV4Zt1oAxWdsYWaA8Y0uf150wf2gJnM8Ro/RLFcG5iFlo7LXx+QtUU7S2doVajfDTH7OD6xfgOw+iwxuQnuTOoOjdKE2qzW/eC1/JZx0uROIoqqHI0dYCyavvNp749Vi406xKZqYisY6+QpckfU5e6RA3ab9hVIj3LOwKIlO4vAPk00JZ41STfQn2XU3EUAAPjHJ9a5/dRCkbawpw0uyjKxuXJEoxl1p3YZ6azcBq11X9jj53nct35ZWGPa1qrb6nr+OuDP8ycW3YHKc5x+RILmNIHD7h8UYLt1zS1rq35F4uclBga8HIinZfDBmdLfwsBVEbbUmySf7lfhlKC+C7/23B8v6txYBAXuAf9nMY/LUeUJggJLo1Kr6ak38xhge5CXbY2ZpxrDYhQzgfu74bTB9hok7QASyGE0XVdhCnoOZa3IlKLIKmE2Ew+W1ckoVuQJm5q2uGVa6+4MJEgn7a3s3mTH09mTyTCQ42BtL7WJkiyoxyb/FVu5UtHAbIcg+MtiKpkHN2VIGG+oaNf7Yjit5W5y8cn1OulOk80w7tD8PBk48PvrqkCzkLnQUUHq57G14MFsp+yJnnP1Yqh82oCvFChuQowPKAtAHW4x3/0J9ywlcQ1qySlIMf9LC/fYi/fkrLyHoZgmmo237iyWxFd8iwgSCLgXSNaekezUYea79rKABcW697sXjquiwYBxKqPlZ0a7NNIImegq9XPPW9BPa5XZXI+SC0G5ipxm3uRAJjoS4m69cgpsmMXQUij+p3fiJbultYZJ7vT2FX1QUWLdRxm8q8uuRJeOHKV+MCPEWWfa8Q0YuFsVkiOkl9gSKIwR5Ccz0p9TuFS3IXXrSjz1ToLRXUo+nGzDOhnGevVXe659airK3Of6TCt+DFj2aVu6hHEgbxEkcpi2TjKrGFoSMziEJQ3W9klfd5lT279+V0mGbcQg1m+gcGNsYBije+eZFt89Kx6jNS3CaLcVRfCUvs5qAIv9su6yKqXpGRvHx+adPYRUhcG0WtmF8OBl+O8w3Yy1Uqf/4g5tRL2Pa2xZdj8jzwedXL/Sn6dtLSxEKlqfap1PK+yBprWVbj07K60v7lX0uuhJ7W7VZVLACeAMZL+taKwtYaa0Cob8zZeRhsN1LRBOAUgKolLR0tAfIXOFBfdrZ/pcsrd/EsCmzD2yvpGhZK2qI1++f6lpTiMkf5KuwGkvfrg63kc0eGM7tq4hqL+DQs4uvWcLIM7bex6npo7skzP/yzw81FmgIaLzmUgeV2rmAWspWlRyQsAuPFRCXmsHH33zYg8dK0EJZNPam7Qbk6En/1pZpO1f64X6BtjfKr6tYyCJmMSWiE2LMMVH96gWSWWlZYcYk7h3sd+PQvL5LibE4JRS/6fDoTHzNIjz+DVZPL+J7+RKVO3XGiJX5sEeNhwMQzbCcb5b4nWGjGIs1hxRV12ve4o6Mj17ennb9q+Ubsrx7cy/D9Z8CV/EWY2xyJT37JYZ9D1qRqBt+GNfMg9djzZSHPbxOwtAV46jJ2WQseHavtu9uTVzddZQQ5wfBWGSOxPIoHAioXwkFikCKPFRQO3KDhh2LFCA0QLBzU5bAJPoCBQFSaBvcb8LS+HmdwkKnsTvwAFdbmDc8uAxclRgpEDP2Joued+q/hi2PMNCwEm9h0Nw0128YaGOFsNZ55TuxDO/k2ra2lKwbAU9qKC6mo+JdUxexNHpRkyktZqJNXNJDIsM6cc4E1x364BcIwjebhxXdFEHim2KxiDkAO1oDxUpp+K8O5bhBwrRhSQx6HBppGGM3RSaBWvtJFgGf/ICgVRggYjwuKAGHAsegC9QLUL7qicjRCUl+go7bZIhnD3jHciMCyZsUY0WDOaOiM3tjQqXkeK2G5KXVoysuk7PkuKKycS4dzeoFv5gj6Z1C5VXN3n/4tKfhExebXpAQ5ia8xk4/o9tSJ/W+JHskU/9vgHf/e2cju44TxrPfhV/LeGCakI6oq3qG8PYXTYehM/PFA/NFzcA1Vl7fKAgknY6Ym1Y7EEmv4lEUm5vHr5/ynuzKaAaih/Ln47JY5a22TSHcHxGASb4L5XIzPQhCliR5wVWIxBi/llvPb6YSqcg/8wZKtwHDrJ3II/7GtVjQ5HUsi/rOUNwDNHidHo/lslOylf8qo6gVrStBGi3CQcNWwqv4Yj0q2UR6sCyV2HyacH6/qSxoS8fbeF520BLISw2ScUh6SfV1BGgzP7VT4cytXpMQk0YUh1DH67czCtpqOEejWP4OWlfGvTwztLC9xwWowvE4AFXhgudapy7mEJ3zrjAOfPhI8ObFMKez/0yo1uFfY58lLuRHeuFmFkoBBcfj2gsFV1YNq+VX+3PIEWXylhE8UvF9bQG8CBT+TkiDqCuTaeQ3A1mGGkSKskyBNvO5Hts6ql9ZySZg7CziFAoIlN+3df6P6QKwqEzs8KnU73ZJIHOAXekfDaOjtdEtf7UHlCfEknJfJxI6JfkqhxsSrmpTnHaUOYVjvVJcZoTDwYTjPXpXdvNUHhoKnlaxcxYfakGCFLYrE8dxXjuA931c2gCFt8PPVukXn+AuSsfQOJW1T2nC2rT9d/latIbsIlcpES3dxQ/csl/CQ2J4rYWHWri/yuF2PmQRupmhr40qZdiBccnAZxe2P0SArVLXsphtFbenqPGXT0Rpx8L0wBKv6FJIXl+zgoqLOGDfmXUZC8bmd8mmPCsRvttlwd4qH+oqOmnZhZo/gH/Uyksn3GJ/RT5cd18eNuGqT0e2zmdGWqg58aBW95Nn/NaEcWi7GwYFj0EWnthANNS5ziRyafgulemQZEAG6+TdNfyw0DEz0Czgusk3Nsa7NheLoaV8klz8twlkvoM6aGKboOUsgSW+D2e9zL5tUFCbhPACbTDUdsyeuh9Weg9WEMMVxCE/PIIFFL1nWSwuZzzuOhbFJGGn3BUd0hk6/WjEsqGJUSKefyfjTdzwfWP2cil693McjgQcUqzbbDLCWut46CqJYl8T7qQ3aVVof7WpizwHQ5MsavMK+IHGH32kHSTU6idoy54FjVuOdvRZYrEfQbkngIq9kg0Apw78made0e2+hRURzxflO6PVvVF828nUVTmfsn2N6d2En24j8ju7YnmsGVSPLWjuCjdew/by+2CuSKAjYGaqdDPAKuKishrslicouU7dGiEfYYDeDw0uAsXTuYg6Vsk5AJzmUWKW4TZwNhFxzylWcQHbqE9ODK1s0//w8aZEQt9YG6mUSUFDUvnilzXwieyi4rT9VCOw68HvS1j86sksqG9IC8TDU079r6loHJSR7NtX0rUB1RKO+NDZP/+SvySjIWghJ1m7TWnRVQjZ8REqh6hZc7KjdyhOo0FnjlgPlJXfwG5JlWAIC7mGM09MhD+lsRmpMy0hdCVoP/BjQWlhcClaKsldy1YlSuKY9KREHGuLTZvaKbIz/uKrHjuwU1wC/RmHftDzICy5FaXWTFVbkDY547yyCH3hOTLFGUcuBMxBYJka43zAF9O+IQR5Doizv4pASVp1Dd0hYszLqnYn6JMFHAY/8SBVYSW0p3sGdrWJFNg4q2e/yMXbNOVDAHR90pRhxd4UEwht2RadxVTZz2Lw2Zh7u6uQMYTKQ8J9wnRr8mk80udnw3wreHUAC4WKhmlE/3vfI0w3WGY9+/X7/3JD1nCMMDezj4q/UtYZjg39Vbw9YgYOy2f7vhfTC5O4E/93wowc+XK3K6Z+aS3HUBkFR7n6+wxNOWmdhRuh0DWSdJ09ifK/kZc2yDPvUt/ZostVi0e8mLuscRECR/CUUSAqwW8lLLOJ4nm4XZ9ceYg7Q2/OxkynpA6+8QuebDJgEVzW7/bQnr8WJ/IoZz7tH7jwt4jGnymqBD7QPYE+H0wQSFx0DhwiSl3XN74VvEdDxUL10i8NfGSuZa80lQJX1sLVSgDZz1bzoDcUQgRKzfHsU3oUmYrAb1PA1wjbwtaa/z97BUnWQlvWvMvTqQW+sD9fc6fNI/s0YKdiU1bPP9duXqRanXrgiR+P/CsoUO9dG/hdA6CVTdtW/Yx7frnsro7tUghnQcLXk3wPq0cQnVKnyihapdAPGyXJNm57QYoAaiLOp0baOOa+kmukfE7PwZCGV4c1LSRkPU2YH6oGlmLDMD9nwl4O96Rrz72uT0M6mlDgX3qWOoJ4mGLCOO1MOQrC37iKNKP2aACPSGlTTXs1A3WC3R/dUCyg3nOmRY74vcZWhbc4nTrW9sQ9ztVUuOckjJX5vHHfXwsvSNszgAgjA17UkTAFAAgve36W5iJw4I/ppSR2sQajV2a+sCqKgv+uDy5pEPJtUJ+9E0MIhFMHZ9e0y92/1DRbsTzdFCutgaP7ea4fC1ObQ+lkf6cc6bJ1/BlJT+EdYrtdJ48RDLHz56eEv87cOPuZXVCUO+oOaHsxOzuhiQbml9ZtZLZl6Fqpj4mIdKtss/ydxe79eCZ4/Wpi5dNjn+2Gt9qdoI56rX6jcCPeRZy26XbPMuriMP80FJiTSEM3dQ+k4pW3EKH53knbnan6VnYzHXXnTQBoJxW50ySCycEuMWZZCzdePHZMlNfS0lCS8MNbtZY1qDkUv5nmeaJKb6aLqKKMgZutFew3XwLZi89ivzlygI2nm83MGkiaLbybydKmrdVmO3yucAlpCq3R1NEGv5EgRHoQVMIzjLQN+ltj0DffsvFsiov9u609dwSwdCzRovZ71w5XdUtpANAJmp9AI+IS71rC3Pq0BnLc/XjnSTl+5gZ4KQU4JuzGXt7XC5aZU56IUHC58IyxhduCyhdoDk4K1RKmWdo9of6Qnfa3GWE8NR2aNaiiPVWPsi781Iyhajo8n6BfKgvAF6NNQmx1eqNJolh5auPK9oWv6EFE3UPbNkJluiyNgd3FmLnk9bZbSxZVbm6w0VahhLr3NWUIJDadg3deGlwPZNG92UEVJdYL1d1n8MfcaL9SxtdmqlGmvbjHsZI+JcX3qt8yejvD7vJxB6bJ5pYgB2hiAeRZu6BxSps8n0dzQocxBwEfjS7C89OpoexM0M4chqAETFn78LDfQqE/NdKeXlzqvDzYLAmnIJHKJSgbqaGI+O3T6yYfYMFE4d1ouFqlOOzioKW5TZkBunFVOaWR/LgX1nPA/qdDHMmPDOmys/wgYp/MoAmkDaPTu4xAcpbRfffjUIzC1OwyGKsxBbL3IiXkDBZ4uRgoGxMVqRrjdQDRycMU2aTJ8znGRIvE7tZF+sa1we+jD2Y0Jy8yxSDSQyTEOP3Jo2OMMwRlsuQXs5FnuyMYEwUKwo7mU1R8aNPvhezQlLlIMgDEcDnxKfRGszgPfJKz45Q01z8IrFNafG1FJcQLwt4JV9p5JGtpcRyTYxjNOLaAGOV3yue6778OEwPUul6oNRzcerwbXx3hJoepegHRXnHEy6rcBRGXIyfOBlrOP5DbALHsczAxuD4+T0yz9fGWmxXfUUzqkLdXD64z8kexXtuVCoNMs5aatQjlvYWgJby65lkmi0wdpfb55K/v9EUqECJ/XXIOgZBllEQGqvLAYrSowy2228UbxKpAW5dkvwiW8HYrA19U8My/1pj6m15Ch8cZVNVGmdRWRi53+hzYBfas2znLYDZ2PMmQVhsAUaJrcX3pDxwB/CFqjvuyTfoKoPhD0qxWu7VcvW1DraCZaQG3wsCNLUJ2RkNpncwj567bLoTWTnHDSP0BU9wzEr9S4ziGwJhWKD7GiMtvaNSefaOg7wZaZu0mH6+MmSXDf0EDvx6BE7Roez36kr9CdscrhmxtQDo4e15z8eQzJc3pTiGJW/su3Gbd6WQTre3YXRbac6NH5zy9cBoZRgF2dvJjwTWENPLkl2pqgkE9laoqqUy69WhxzEsvJdwt6oxOOA5HTtXejhk9/cLiqaQDYC86gb2s8R4l3BGJKJ9PZ1dPtX2lAbRx7+Gvh+iWb2x5WZLIy0c6xzt574Ma9a/goR4u7Wu5l51QDebfzx3yLKXnjGVVc18g3hjUAJ+kq4RmJ/PW8sqT6rJ4Y10OSwn9EYDinzy1DFOFS0skfmFMV3PzhU3fWhB52jAPN0TYlVQl1H9QpJd4tt1E06goOY+BERqxpSSpTZyIk/zCye/QUybbtaFCj6PRXzH934tDpoIFtweLsa3hL09FHI3aB9/7IVs0NcKNgfH/noB0syJi3NjO7kujHKoP+NmWs9C0cxYzv3CQEmmlEQmxYoGQQzcloLoDHqxhXJ5iI1g2VCR54sXH9Tu4GAh5mA44WoN/OzlQGPyQxY021R5xfjzk4BnMIsUlLn9lvIqFSdPc8ewgWTjCB1KRw5zhT43P5kL4KPRilbYLXpPaiOIZyOKvJhcPD7ifnNijjpyFn7lF5t2mrsSiiS4OTPbp34c3gW4hhz3V20s2d/GlaDjTavUIK7Ml52r7kkt8jPfjK5XJeCiZoO6X8gk+zUXfPy6hxe3uQ6jvMHsJS9LEQwetm94r95CH5W0uzGNMXQ6SxThAtwLTFX856eAY1IijxrnO+E1wAPkY9rIkwRKZl+nglkYLTtZ+fjccJieSf2rLqF2gKvAwEOv2jOwQDuG21HR3Z4RCGGKMqPsu5iufYA7yBfs79MjLkcVSJkO9JvkzHKPNowu2FG14y9tuBiDT0b9iH6+BbLM7yT7anMmM8BizPeEBbczrUUt3j7UzgFKR91rL2e/v5F92GYsB+t8QVFx0FLZl+K3z2f+uyX+UHJObDAKZZSwcrEstemyVvA602jPPHd2+RZszVkbXNcp91T25lnJian2YU6Dy69ORl5Taunm/EDxHDpB215mZP2jJOxEkaKJh35c2KiHH3QQsXs7l4/0z1UgApiArSp3erHnk943gkly2hF9pKVLDO1dSI38oxMU2KVlM/PK/gxHAbMVrQeKK4gnFa4hLoeBQKm+x4i0ImycJlFNu74x8yNU1lErtk+hXuAw0B3ydSyRS1LnCVFsE49SNqHwWo/lj4n/eLg0eFDTc9q+Wvd64t4F6jM3hlvrnM0QmJ3894tn7QkPbztnyBAjp89Qehj43hlqLtQn6czZgUOiZzxiUeNyw7XW62k9dWem2eYDlxnesv9ULO4k8Mf8RUrmLNcPxgXZNjt2VVB6zkN6djetn/1MrcV0U5PjU3yjjGpiDqrtSlVa/ZXhqw2Opc5UG44lz4mrkKZp3S/zQPB7MRqwTlIt8ehX7Qor8FgDa6LQQX+G23Q0QJxRW4hgKH6MsTBYmg9kyifKlVCSiNRkrj9agubaQBJX089BgPjnJsDbfhWfKhtATnLiW5HXjcGZ4MS+P93UyfzwsoNFlppguxv6x+04BhZdjRSKtr3JevBqv+Ucp6n8ubyz61hlgiKCOEaL0U2Ja/ksv9qsL55UAwKYnJ1hAjtY/jYxPX+96Mh7w50ocDApLHxxvWuc3eIv3cuy4DJ5TAMAmpQX2Rda67FcJnaetxanD1+Puz5wSlRDCZWN1pMgh//2aZvwl4Q6g0ciZUw9YI4MdR/ycpwTePF+sBI4VUehHMdzsS/X04CO3OI9ufWrf3gTvDNTLw3+T3u/UkTAayxpv28GK/JFrrkbA6Z7kw1WCkPQRLuSqcDsDhWf0bAeiWwV38jcFH2uljxrjP6472pXuyKaEQMVvCoVAxF70AKMZJfbskN655W3GncyRv70r7t0MEFgajIhm09jy/VGcI3cojNzrpOyHDQQptK15K6/rNdzKKGsoVhZle5gpJrnNSXGxrtDIZIb5cvtlXIDtBhKQx1XCIPds2TLMNrHDvxLd3gNKmgbDZJsP+2cV9FtnTjP+qb7ReFLBe4jT1zcmvew+fQLkP+hyq52fsKkpR0SZVGhAFn7OsrQp9lkJ9lUo1zZxNZc7DOwM/8H8uwK1EP3jImzRM6JgmQF9f1yFXpHlrgueMalXVpnqAHuvlLUWKhpKNrgUXDXUmudg2rL6iJ5sibOM1mEAy/iKhR8v0x8b/k7Et7LIuJ8fusm6fvi1oQ2UP3d9CSl0U9gEMsy8yii+Q/dAz2/mC9mUstyfd8N2W6ncPJdtDfq7Row74TGeaQ/ibiCsV9PWAFDUbuZzsjrUicZK4aqwY/ppAUxleKx65k++ggCKne69fgj5WtRe4DBNI1lzCXQplpoH45OnyPnrLbY8bw6MjqlFRO3zguGDXqwG3cysCCk9GL2KSXT1gOllojRsMztER14alCK+1ix0HsoEWnJsXaK4Cap/P4F4Wx7GQ9+Mie894Orrbp9iWkKABaGnPDTulH3f5YUiStfK4me5KJs/SV91QE2hrw1ZQ0TyPAXdXSxNErid9OzO00nRo4N2aMsh8t7Hg9VgAFXpb34bZK19F2njPIHHUKps7bpeOdmqbpf9KqP1LHxRikENSIDxovJrjXAmafE2a/jSq9+mqIJ3h3hlqET5RDoIVliOss+pkXfhH877NJPLbWuh6RomK7twniEVTzLBhFT4xqUBs747NmjgK5hh6RSYu9jXsSwirMbyCrsEMMS6/B6H5Doov4dxk9Bg4ON/6eaT2EWGz7QGwpAePuyKNGV6fD57C0eQSM9Dl5MItavmZQrl3978ve5fszIeZ02RlZUYJT0zkVT/R00CE5QNMsKagF3r3NVXyp7j/9llD9XnV2h1mpMw2HCrPepJRD4SHQTJZ8/hhfFKnKkuE4c+ben14Z5bvl/V7qdFvTOXBbx+ONaIX81O7LrEJDEyZaAek06wCLsJvFqzbugsf/s0rWMs6gc1l8W+gGLgiaTADUrmdRP4UJJWdtidwbjjLfQfiWoUn1BpM8YJRITX8GMdCOPC1yb6gBqwgVykbkYNGKNNUCfi1uQOwraz4K/dL/+0bVSDZ1xQbbJ5mOBEN0NfzIncXmqs3+ynmi0ItvcSTdQLxyJ3Qmlh2fx8msHfJq8U2VpvAx95aGSRzWt0X7PJKuoOIqSt3zw7dT7rG+9Kmz7fDNEBQ/e3FD++KjqDPkDslSgonA9n6PlBHtsl0lcvnXlER+X8QSEyVsC0FphoAhf9snI+1FnNpFDGzkKqSORR/5lKN8/To9r0vWO9RX/aYD5/tkW+GIM4DmXq1oSuVqIQgI6LRzwi/2C41ll0UciDyyYwoh3LZl+FyQw0OaZQVU95ye6h0BBoJ7PU91Itec0NbJMO72xUmJawgS5PWXtgJ1DbZRnAXmGjzPjupjah8p2wgeefzcQ902cqQy2ORC9zvaqtJupWTV4Zef0ZsodJiGDtsxYSkB2Xzuj6fO9afdlGP+z+THMtaEKY1hfblbMSZ5Acd5mnVKrCY3yDnGPfSWh6BagTLLSVxgq+pOo1NrLcYCvq0C7e1xuJiCUEjZn/iRk+OQ1ta7P5hsrKcvbfSH2yCeIQicfP/iGQtKknfLwH5VYGcSMamuixYathtnMlly3iS/yH/KJvRxjF+etjRi+u6qG7f6FpRrQzPgNhJicUZjCNYMHnEU3Ky/phmWEk4vTLqt/5DbXDFl5o6kBRvpQr8uPTqaMT+JRoXFT78Ky4L6BoI1wQOlbd0dD4LaTU67o7cjpIRL9DjMKhFBValM3iNYl2NPfNEtBZ/p2FJ9eYPm5YR4NXbkwy1u5BRAiJRdVJmQu59pBt9a6tbWlVX6HLlI9qJpEynK8qpwx/kyMy46NFcbToJvgcjbpFGP1MOje/ijigTcVDv14qzXbbuu1MaQGj/C8oF5KCq0u59XTq2lQ6SmtiqzBDoABPkRHqr5PQ9DA9yYYqy9jbRKguM3KqrSp0hWDx7kpEvgphCQdIHXiemS09Ddr0wlIjKyJJe+3kyRxvep86i8pQzz7Kx3qaeHb7oPADM8BfI5B9fNXGS9Jtv8hKOSZP2+atYCdLjNb+pL4tedEdmV3UpYF1APtWAvW0dmcRT8LBID23K/VMahwE0Qlnyxr/VFJUKlHochfReljsaBNduu9xnkEzCvTjXURGKWSKaE/QEg88Gk3SScWREgm+es9qbE0pp8oxdHMC6A0WEcPaQCIKeTzTIlgyhDiQ5EScio/oG2IMrDcs8Jiegd0Fu3SwKrEB1fS+ybj44uDiag0w1KgN/fwNuazNnWo7F4PgRWaSGEocWsyR5ESwRDUEMwQ5XgIC0+N9uD6eNxKqUIbRecbEDf//P+RrRFcR91wM44uXmaTi2ine9ks1Tc8vGetnr9t/iiRZMbIZ7wV4RD2Ha8XBjkUNz+BWWF+/b+KEHhpYMSAHFt7AEG26xRDsw/FuTHdhiqObUIxx70YM6aq+UkFNXdN8Y6GNFteMzG0Emwt0Djhysr38tK7RjuV8Lj9nd2iDXcEm9/BaBi1twg34sEM70wwqUUmzS7KpLgBSxbygjvu3kEuqJrvf5cfCarlxbhHEnxbgpsW+wrzxAM8LjHmq0F6oUN8Dw6THWQ8ttnv+UG+Dzn4ff/TF8flRCTMj0dJjctpzOJoh3d18vQENIJLysQKFgrSQXyMUFAeBI1affPnLzuvy1DHPO2wLHKV6juGOZ2LoI87tTK2S2sxDQ/qZ7UnrC969XYaxejvyXpE7dmSXe3WdDktZXpdXBOQ1Tq+JNlK4Hk6N3q/Vykzg3giaCBPzMZRKyZWwlloPBcIVIXIUV7MEsP5+YBffvH7m6AwRVb2RYyqnsECZOwspCkhio5SJ+2/PRbXTDufMtrZFma0y64GirX5aCn7dfwJHIuP5fnsm7tuyiuU64ye5U3tKDDIFzoaNMtCOLT5FuwDBiT2B56yR+oYt3GVDH2d9YzCvv9IgyKI39Ai/G/D0WCcvJVBjmsugSbiidudpH03oEKk8IUG3nQLm6iawG8R63iSqeQdUoSdNKd+mz0/l/2e7rAaQnj5V4dgkjmK0KlXfwLytvp5aF0fb0R0h7iv8jJ1HLQlp/ARdMw5eyEHV1QjzW0B1ublFf0qhJTnz9RNt4bEANl5M5IIkzVur1chxRzIhpPgTWQnyfmoiyTc0Hqr/wNHPylQE/jS1QYFgWTciRHP3uNFUiDjblwC7jmiNloRCLajCXiAOsvBwVwSfCO8AW60MYbGyPQqc+Zzi6GpvJnsJ6V6IVTGGgNnQKu8dJctYdl+ZDtyPA4eV8EFrbU6pwn+co4EMJHIN5soe5zo9FIo3Pkz+OTIUYK0slFcR8S40oGu3R1VkqyGhYEIa2+tSOc4BzoUfXwTXTVD5K+XfRJeI2e03DdTfYkp7kxcI8T5VzDxckF/w8NFni79IWoqUjxiCyefMULx5lbeE+XngreBdYMQX87/j1sQ8zSFU+GphMkKfQaO9AJdk5wYAEEBdIvf7rfaEEwQgKyuLjwdtMopXhlJHo1hyVh27m5zhjamTvIIuAldXydzm201vkc73sP+q82BPj7VV7gcMDEvIjhM/vg8HFshdzXRPfxO0s1iv5SvjE0q6fDAYnGbZp2/cK6CAarwjKc920J89nyz2456E9JxLQZ5NEHWUo121Qs3PEbiXXKQaHhNLiunc4y2H404lYpC3KUMasXTb/WBxPppJB1RJVCaxU5gyj1vnmvIIvr1vd+MjHTdd/VOQg32C1aG4q1wMbTLBCWohhBNM1+c203GRxZPhhiOB0x7w2lGClBRI2UMbgJ4txGaTCdT63aaM+mSERKF/RirV0p0m0hGKFxLUYdXk3UoT0I1dybZC4r2s4cMWV+C27M0lXacJ31GXYMOus16IKgN8u4GIqB+Xg0NN70eXYAjI2jCa8zq4sCbbaVMHpWAqZcTf8ZxBZFyu7rO4ZddI/FP0Rw50nknnyGbYS+X8FA0jGAMNT2tMB+sqgB6I1WevCs0AdAmvOQ/O7BI9uFCOVKJ/HG8OK1p8apleAXyB297uIh2uBi+rNiY8SaKb0FebeJ9jVA+WzcH+dB70cmiiqUKUbj9oP8QmTUPdT6OT5ccmqNy2BfWOq8c/qzE9ZI95hVB+ygeN1lPZ4oc0Turojd2Z0NzEZwP1mveNkG8dIPrwgcaejM/PDCnsDIJCE4KR/k2+WaAn0q76+6O8khjicWvO2vzuNkJZ3kVu3etHLtGcgSmnA8KLtsPxSFAuihq5a9brWXjYA4QV9Pnd93zL549bBHRsKTHQ50JP5Ias/TKq+rjWQbfr+JrPzm1f7YSnAwgQzh835Xn4RXxKnHtrvC1xdfTBmwNOgVF1cvgWdxmSkU33tPewIlMpfrRQdtFZsfOpkCHSxWlIluy/f/MwV9JGHQs5xEFIrOItVARKnERu3NhGCdTPVPFpWssNa7xDi2EZa67EatAXKNB2hhkyNv3IT++AIaqCVAALyZ6Gwr8G8ZFbWrCblaiIwu0bKvZPH977XHZZTxliBqwhzRoQnFgxRRLNJbisVNgzXmNNqFoXmMQlirSpCwgc1TPOXM8tvb6X2ETYz7a+jLUBoJ4s09CCikKlpnc3dmvkvPXsfsxKAgZQ55iglmI7tGr4uIHUdCxXckrzyKE1RWsD2eivvYMw/8itEY5h6cYsPUThn6aqz1oa2cxxgLddlHw+rr66r2iE29LSHbMmDR+7lyY7nE6UER25hhhtQB132iZ9NAZtY1Lmo/+C+73wFivgGwZP/x/V0jp2goo02RBeA/GkQbJ9T9J6ZToVHa++vdcYtoRpFdujMD1QbsMAAvoTBWDEiT6Wi/E0CByvSlNHb9rS4pcEA7VeKk7m40jVu0QgfgiZph19C5rhTxTd/lVdRd3ZrB3PfO5LCK0L90OVb4j8DXbj+1fgkFfqoh8WPaZ0qCH/dtCqZKEdnlyPS2RxOSCurpKfYgRXGkOyePm6hOrI8I3YO4Z1VKFiGUeah8m82tPn8fZ2z/xsXMLOl8EPo8iUBQE0/ZTTZCYjcCWtEHn6eGpnyHS5XhIYpX5sjAWJZ6eXz5QwRjvO/yD6ZDlETcJLPCGUecBnPfTgzv7fFg3U7UIEyHm8P0quwPwXl3hS5WWHO1ZqzPW0mEqgYHiQ0/DRx5pom4d22is88wkOy6igcrHRMMN5/aw9ym4V8XH0yqcfcDR78nsjo+bjU7i37smMG2p5rTl0WKoaxQEar/S/pT/SBJS/lBbj9Ks/P1s+CkdEEUzAquSSckDO8lrCyRqFuFSBUs+qigMgW1ey3jl0x0gNi/ysexDRcbieCYi6H0PxPujPf/RNLu/tBoaS/poqLSHhhKWvfcokxJwoAT3QAz/1gijOaLd1Qv8d5ut7OGo4HOnZvo2G6mQnyJ5WkajiE7Z+BnqMm8bj59XR9C1vT//bmhu4P2FDwLVr9PGsOopmOblz/cCMQ3wpbBSllnjY4g6zT4D3wlIutOPRsACCJ9wkIysiGDjuffBIryd+q1NjVsx/CE2UkWwV+BjBzC4YhJZVeIlMQXAPrLjjqMuewpIQaJF67Zqlvk+NcKIouC6Gm7aXNbhcguiefP8uVv9Q3gwVHHNzZ/MMHW83AZbUSojapNzac3nAiwx9ythCK09JArSfs7dxMySmr9p3CXpQ+YFUCo1ybX1bC57XSX7WR3sYtTSGnLHEk03lZ99H6vKEmbT9namQKL3Y88SD4lKbzRPzYNE5IwD3uQR8NXH4kwqM5pyrfFuHpA9YFJ9CUQfTS8vROjMa7cGuT8/QMSJvw+11cFdDIdN6fKifhGvfUiXeo5LxzMhQi+kj9sWOvuwnY1Uv0HEc+fMzWtCREQltxNqH5sqUUi+k4kN1ggCJMkYvDBz8WN2/b6IqOKwqbh66ls+VUJeJwKn15b4peOM84SoUlMEpDKo0qyIf1L/2CHciBi8KS5Hbn7olaGoMdHxHhQXAmgN4CdpRQLQoZWD0S6u/l1W4yUxn7ntOP5A/VCic4r1gOMkk37Jp+Om9970lrGzmEa+fKAhBzrOFOHOV7OrwDASlvumCHt7EndA51nfRQ8qjXshT1w/oOD7a4pbiURE3DWjYiS5DtegVkkKMbE/f4wbyJ+vZQXHBp2CbFmStzGPlA0KUnEmLB+0J4Ahdqf2i/wX/nuyllSmlY0pwEdius8ZQOlMQ20hRWsMLkQSkiebPiK/npssb4Iz93VF4cTKm3iuFFWS4DSDTBgIUrCSJZsF4orzyO1+ZpmKgp0zw9ZKnr+ydEaXloOA49yoOs1FPWa+svFTakXRohdPMVCYyomNw/62ym2pBXN8cWc7YzsKiQANq4OZcN9OHBp9pvnS1ls3TyzSg0l8gq3lqBSBnruFaPHRI5/9qAYvwGgZktQo10GOaPpXOFAskhofxjaGm3ry1eNFBQCCzGJq1jSB47XgPl+DW2aKSYgNQxNUt9CE2tfnJJQXAsaKp6VpFlOw/hX250MEozgNyEBREsiSJS+SKdsrOiKiv3q4AY+zJl1kojFoAomT4s1vAAyjayPFvKRgioNNKWADQrkv08tN6t+dL0pGIsv+uQOmgOU/vfT8vGoiUsNFsv1MVTftuc858mRhfDxGRf1+l9WRQfxfpA02Y1KVYXhLjScbH6R+CVQkP7j1sd5kjL9ir0ujnDFhbDhAHoMCAk1h4bhiI71ICKRpZUyfvYC0fDbZA0F6rNqfWebJSPKqVzc0GgsvGzmYyp9eCwz8X9Xi+LYjEFQttMdqYAfpKmeEPnRC+0VIlvMCIRm+cwULoKpOQDo5n5fF/UUxLEff0F1/EciD6WOR0mxZ+qQZkmkM6GyAWdyBv2xiCNLUqY41dlwzq29Hth3CjApmtcEHNDiT922khSxB2aLyTW3pjMuUHmGheY2tWh0nH73F5PpJetkQnYM/Ltby4cg7geB+K/9bR/sBI4wbjvKN6MoIjtvLgHBISoNBdORSHNgVdfKHBetMeNsGKZHJf+3PVgxvcfqA5aG18ZCt5c6+o/o+UqDVjJpEdaSJwEgUEM3qyecZv2Pr0sz/2PQB/OinOC23Nma9znxNL4Fj2n3NRPlmxjFSitnqvrXOkiQq6SPPqXnDR1HL3CbWusZviFsXzQxsaPEeDGNkOCqW+5QAK+UhrALOtZ/ZXizOiK/M1R5J7UIVbYj2Ub18yYvhYU1atmNDuGXk7EDdadXwqJm/HVGMuVk/64AVimKFGLkL4wngwWKrKQNDjF/17fhhzAHVxrGovZMiKGhTLaZJvXda0Wy5WAGQi1iknPULcYVfSftiUbrBxoeflPasJgl3GYFzsM5F09o8KLKsFgIoMakwZCr1t3JGuphfHIBNkOhMlI//1MbgDq2p75CCQ/tVUTUiOmMcNhTxElLe5QpsAPDVkWyK6eoxag2jAp1vKXWZHY8ugjDL8RDUJnb/pzDqFLIMrFLWNyn5TE1pDG4p1rhUnNqD9hxQDqxRza+rUDzO3fHJvaNo4wuwYPAiqM7uACrVtF+q+e9k7WLWyIalZc0jekuzOGjnO2WNYfIkx3Qeb2jTfhbSIem950DL9ohSXN+R8DGMIEqMNtkt2A7ZCg4jdbKcfPyRxZimcDgriAYN6EM4sWkEfXK5B7cfGkQe8Xo1cLewKmhrFlbkkCue9ifdcjUAfZUe8U9C6/hBvuqedQWrA73l923vmVp8d9mWOrt5oua3mWgm31X03piM1inkgRyOe+o8Ug0oDPJi5SU8wk6AXuc5SN/z0svgkyKq7d1u1m5SDdYsDmPbid58wkXkWR8SPW2NgxZ7i5+Ue+7o1iq4m+4S2cskQv23CdwmjJzKW0AqaBJOKpoZDP45F8lI0IjNpzfGxvo/Mqmoy0QY2Tr9rvRfhNzMUL7uefecHnN+p7TgsxS6SSg23QhFOjHkneDd/UJwnuITCFLY+MtqFiWGdYaabEgL0eonuPS917+12YzzDGhDeARCmEiRh8rBgGUDlA+hnO8X5vj3OaLekgsC2VK8Y2PIyIeNset57CHCL/KEHRGhrbL1hIwQLObqLteur+pfrtmQV8LDsOx1p104UmUnX8E8jHlcIw6p2TQt3Ptj77XMNaYk0PRV28z7KNXx2Bx3IZS1Bp5zHWufT4HxCXOMe1SsByXEfw2OSG7uGcBxw3lSUmnFCfRT67eKZmcs64pDBRX+7itureiCPbhIfwzwJkSnx0p/eDHsfDft9rOBnqcWC0EU+Ch9nWfBHgpQEV3NcyqCwPM+UoZrPAmgJi+9DRoiKWyWi1Pnt9t+VdsG9FEFXQCXgBAVR416/VHnbRMHXpACNkfu7CgiRYu5HqvtF86WVzLyZLxIePOau/zKMfpD6uWqkVuWa1w4eRhj/0W3LUgLXkoR5VRXQmT8T5b/TCO0KyBeSUPeJk3UiRm+jaAV4rmYD6MY4lLMVa1yJqeJ69DhJY5lJhK4Qf3I/bZGXHVzahpXxhipIMMFxFsFgn6j+5tO+kZ7AXlUH4Q6RUktdi07fqQZsnNDZRuwSN6bfuluMhQwZl4nL0bYNLp7Jo2v4HGMZ9K3V+bXcc1S9XACStG3H2i3ch2FKbSd5Rx/4uGrptpgTmR+7w1YB8IWb40tCPGpYeeaHhoJ0GrxjLGO1tQWDjEDR9JGgOoUpOlBASS3G2+QKq8yH2F1/MvfT7WnhYDukfsO4PfbKJzauAbDRBf0UuPlQJrF7q3PtZi8U3ndUZZWV4c2rSaf8DXMwMDOFhGlGokwEnTlNsG+L+YcVf3RI6NeKi19VjfWJxzKMFRCHWvJ8Zw2x7J0jreOKOLiUKiXM50EUV5+c14byI+9HEj3j+LjsH8Te9LNuKOjQnknp7ASgrLgZ1nbwZ/a9j110N884h+2JbA0zgaFyiacqu/P85V5p86RHW8zvszkc+9JoaRF0XKpSAVfrVwCcdYQ0n9wxQjPzOf2731rjRLQFZ0fa/ExxkI0BLMDuz7ELETIbipMT77BmROhxiGLROMc/GHl6XHfR/DLRxhaxztF71la4MJh6/hbSIhvdFDKBzyiFuaqBg7E3HuN8/rn9NcVPzcHZefPUNkrQvu7JPE9THScJA0qhIr+IG2RnPzIyBAX/LbFlPUL9ed0/LA/UPKDPWGgI3lsdYCxvhSrCgQLjveaZsPlQ/X2jPCl8G13lpNkGhSDOvXEEtqfefSa2FLAIDQKJGUtYwPFTF+XQuIGcLoOkevexRyCcnRjRg8KR6HOKfL0EDR+INSXGWE6XMgxkHvTxmovkLt8eILLs1GhVRUY46yB7r1gZZ3r9kR0WUCQRk+Fk88hLVeYJWsZPDNVEsACMQpeIP5htF4Heepk9aRpBp6RmlF/MxRsmkNXuqHW+GbN5qBK4nYz9euFYqnfy8F/IAPzkpsK8Xi81VovRp+yaUhyEVeXg3yjtYvhzUZ8++v9azvPUw1IzM2roBtZbt6DKsCvt8ja3lMre9W9oTIALBZdBFyBo5HoN5KdAUpY+fFc3Uw1ZIRCOMRvKYBHy1TzWK7r18S9DX8WrE9idGoTbyEQCBZaeSw41VHmzyKNm/75zXvgY909pLw52DK9lzEesI47eqHMuM3bThfJlOM9BgmuLs/JXIm9juHwZy4C0UGTTZFjq3TH9b49Qs0JR0Gn7GdBBhZM/JPZJ8eIo/Rz9Mv0fvNGn8ow+zBJUO6jYbbsUVj6WbyPvL9a9XCTzAu1pOvyftX4jaoH9b6UpsU7vga42WWdA0OZtQzHMwcAquvePPj3OWd9xcFQwNopN487r3W1S8LgqsD/ezV6HmKgjwPCsLAnmXPJq+VDK6mRS+lOHni8Xx0CqfBAOOm9HwXhofoMfwHYUy9A7i2XF06uEOM0u197PMrosdGc7+wUp2DhVzDvSRnKuxcXvpC+mT5O/2q85yDDO8coeG2sQ2DFW9eIKSLe1SBq77uMU/2Wydvogh1nvOEV5/4pph+dWsbR3you8hK892m10mftgPssH435XT/EAFJjjfQod35SFdMsZS0lc6AH1Bmrm0wVLMO8IX4RJG3pGCPbbQAoP+Bbn89FzFuTQtV93+TycO1/UtT5rmG9RlTwS0/5DFO6P4U5GDWPvpBHR9sHfWapfDVRz1Y6Uq9xqYCt8fx8VEUKCv92e4TdazrAnfwjsjDPyC0MJQLZq170GB4jPU0BT18FRbqJmvjKqEpvSsmP3lNkeklkhtg3O6FFacpZYQS20EmHM50ytKCyHgwMguj8Cwuyt7fWBNWYpaweCmhaYeKOtLthFD08l4ma1JhfPMcBky2qLZbgFiZnnqJoltTu1FkQMWoOp9rOom6ya7b54ZGiRE5mU5YWXHWlhAK5hCprqRn69Ku1wZFO+RZt8vdgQ4QDY42IftGeh+arm3RHQDznhOw2gYm2u37buyop6lN3yaDiockuCFJiu4f7G9Pqb0FfBfbZSf1pIa/OxBHu+DaoFNS0HfNgrTjyJRWsSjzmwdVryRgtBvoawL4C5XLtpQYKnq6NGbPq6p+gy/7l8hyElz29ae6mMc9maMgkCbZiIJ4qOrdCjTmBFmrgDBBnKUKfG4XfPBb9DyJWjWV0y9YmyjVWMoBVvwmUUJm32zfu65U5UWTgMD6zGwnCLZH3swm9Xz7En+dMpjRVqqB7EzXv9MtRSR8ebRvmunxNjTqmXmWLGfaQel9gXXKCOZOnwRc2fgJM7Oo5Qgr9ZyKAXxm2Qyo4uyY2mX7u9dPwyb1gC/h0OTn8gVefDERPN3Sg1WGf6Ca6oi0G32WCpHXkxzIdgsxm5/t5UBMe6/9HYxJRtPZ7Ln7ME5hjhQo3XDhHQTm0PsoZ5u9whwKPvQaqeQRDBMeEVA3zjb/v4xXiqL3MOLkM/GPAfdfIZDXoxupTkdahc1VVCNMa8EGuD5VZH7dUfKJr9HX1z3Tokm74JjmQbYp4ZURuZyX1BQjxu6cMdKjhh45CQipbbzTGVbFQfFE1t7pYJGYUzkkpfZD3LOuGfWB6p0Yccb2Jhd/KsKwSmKCBdvhD4AnIn8x6GSX50d+K5bECTOLXOPuYcEwRSSycHZNoOw27P5c65kvPPvqLhUDqK2rGy6v8AKl8qZIA+m8r9WnABQDZcJ0E+BGHJ8z9zeaYj7AarvHF+JGgJsYPsACfHuZd0JdbAiQsey27Q7R/FrrtDMgSNZWTH7LFpdOweNsK418pqnJDBWbGbS9rQDfLAlA1xXjloq7EYBuGTfulMJAyciyOE+UZCj+8NoBcQ2d8csmQY2XE0cP9qglYJ3ov98qmRypnoCcfZjA3F/tVmIRkWtpGC7FJ9aLeqmM65z5w/EAbJASSCYi9z8kAcFSdFIPXA+yyksDfbjajACbTq8qoK4ruwtJ2LSrucNrhxyeb3GpuxuQdl1gwa8pXv3kggi4k9Es/hEnq8Bem6U0A4Q5yqJM4AqIefhDL2B/9TmvQKU5DEecR+rUp6pK+gdGDkW4vWfY9HG0Vvajv/dolnjq7L7D9MaGcMVlMTkHZf8bI6SnJhyyhkdHOBYtQD2NndlyuGZHRiyuTFqVxKpgVIzdhDviWuFR78ZUO4XINDcTmCo4f/rR0lE8GbTXNJkjc3L08fxSQQ6+ZCAti2WZm611seAWBRM6NzedCogCZkddFO8yqGpkhN+dbjxhrO52iYDZcNRefKI7AssqHqQ57YORV2BgOgGfzpcLaRlpq/mWpoB086zAtVdi649S5gbgGupkxtL1Rval3rzOfzc0RLUvaaFyGwd6dL2tkt0yjl3c5H/zCA8nAjTGD25VgLX03Y5Ttk6kUUe51/n00b+QCgj81hCBOZfF0mbeAnoOB0LM+fozxYicJSoWaZXLjj7i7DBUcHnABw/spJL4ozm6vqWGciy5x/3y8pIJnqM7+tHR32swKXLUdJFInNvDBP1Ngwah2YYO9t3zzkxRPEVc+H9XK2p7UHk8ks8BOmgiTdTq8yzhD9k4qMHdWzKUEHQh6DBfIFhOKiGsCUDZDdqQulQM46xLEw2jLWhXSDKeB3rlgE7LaGmp6ZiFJwzGtE3Yuo1OtFkZpQsTyYfxV8WXqSbcO4I2oJ7bhwoOlHKwcr/ecOOn2d8M5U3kDFZm7IW3OWfRWdG4rhOf0qFOu+Qq0ovBWwv8/gajUDH+wOQWXWAl9JeOWdvdmft1SJKop3x622mjZ/yp24aJUKbzBK5Q3lfTdeSUBEf54EW/T+dfbv+qMLcu5P3fxLd9iQedUa2kUnIuqUNDJM2Zpaa9zUfy7BuGIXJeE7sLdBhp/iV+zbvSMfy1C35t4ca687QJ+PQ80cytEEd6ACFpxERbdI0m6QZBqd70pfB+oTWiW1D0kT++KLxEPbIr8rYB+UvbYsjwR+pxvcfc5Zt6kgT+LafE1sQq/Rxv81T+/OCz/j3BQz80HJ+rP3SJBLu/C0Lg7dgDv/POsPID6YwA973NaL0B1pQJ3ZbYKNbr9lEJq9p0v+0oB/pQPnR4UrxIK6rs7/3c/VTCFsqidh4K+8jfXqmGmlkgtgQtNQM8lSl8UB5uFZaPVEajIxQ/AJ9zm6hfX9eo+5SJwSt/nmVQ1mWy6fmkEIlbVxctCxhpPVme2+PfVWetT70YrkYFRLBFOnqPV4IpixiiXrWEfKsuiEMwQP9JJ44oUQkbfY/pA8CGauOpj1Cjfiic45Jq2hAnijyFmgnurE0QzLcqDLwic8sAyqYjlgY5y6CDzCsjlzpZWv59Y+zx/Ni1orp4106fng/OP9MVohMWv4zx4d1dDwUeY85oNwchnfnCBBt4ctt1TWomLbYOCB7Fy3+wGA7B1nChSxzoIPEkgjZZj3n0IQMo3etNfigksQa+qmpla5sEclE3uB7ZBC3ePFIcEYrS0ppm9deUq5grODzqxRh9he82ZFZTpkLJoPY2dj2P9PFGiJ1CcjXRrtQ+qVfVKCjWxZygEMhfmgnmeUTtjkj1uXYpVBZNKnbpjbeoArQGKpFHMKAbqpL9D67m+ECj2uvJ6Zh/oGIBkp/neQ1fr9rZ1mGo125ZqFtYjP030855/DQbzOdN92o7oXzo9wZtitF8pdRPLy7HlD7Uvqy8ZElRnILvyZKOrWDs6dfbQCvVobeyL9obm1TcZpyCVD6Hasg+LLaFRLtPF6bTeHzCgN4lP4Bw65CI4OEC18nmTwe/EkRL3sQx3Q+4cgS/JGMKX1ipM9xDMxtInJIoKvXPi/xGM9mzBqM7jYU1DFb8ssg3aU5CPzZ4nhQyfkZhKuMDXGTsu6L6h7B/RbIzMFPhItOMm0OE64liVd4n062JbHblMv9u4pWhEulCLe2bLbq3kDfGtIzt01TAQ1S9/tV2uwKkEgVg/krjUahpRSjol/BSEUuI8Y4vfMryJHFddZqGgyM5rPdMHTDJT6EtbIKnTKmJPeD+oS9RtKSusaeBdtuyKW7iDr7cIiJNJAM2u8TFrMgjQvCTiO50K9ejSKiWHHt27L/O5Yzx8QxmVrA1JsFRdcZk89yuQxAhs2KOiBgrTCwQ+mjqPEW4NUiRxQxiwy6ArqxjaENLeXvICmR5lXiqkiYMjhKavH5IgF/RqFn4jVq8wCPdTNfrziuqyDCH6J5Pc9tcpbs/EX7J2HTPFKedW6XImQXQiUo0QMj87+KWxPCndvoHNMgs6DljnwGeJ0iW7ZoGJy+1KuMw3WhOl0AMSZ7Fyai6ZcROdbqtpEejqqwK/zIh7aMbX5aqxmF05cP0ihwVWxlv/h7eyYUXMawdXoXLlQfCXrqA9UrlA6kliKxmqKCwcIQ6dTyrxEMpMcHtcYbHJBjQV0NbCu95W4Li1FIiM0ShezoS6Wq0Bd8g5blezAJKglXo708s6dN9oj2mjzHDVPcAXMhiPnsZ5nZ0Nh3a3MBPJ5D9B7wnCsqIOpjw41EGpb0LcNvAsZZeAnJ0WhqzIy0D4vjpTw5jcpwKyEYz1TkfeiV2yRHztBC/L/sMuiaLyEJwHtnOYYw28E0NJqGvmTcFZPxxOkuZafNNG0xCRINWV3IGChamyLHlgTbwqNiavpJvzyplKIh4JBIR3SdABSH4n6IEt+DVvn7XHLpFevqUUjT2+tBj2xDs5iovc3ANXx4sc4crCgl7oOxfIfDLWjOaaOgz7+Sk4SmAghALR6TQEXeBdJ7PXpX0aaaqCNFrZ4YbyAw/yWu+Ujk3bac7l9HTfYBB9XG7dtnplZnPccJs2FZt1+yXgX95nk8k/gJla5QYGhEWkF9SeBev8X4UjaX/lHBJyq/Wq2s8AzAh8338C+5ur/26pDVro7EE9CHAFWIOBpUHWS3W+wdnR+G49YEXYtwJxOJB94sNpwmjARHjhLOTYrkM1Hx77Aq9ppxtPit+/Dka1RiG3yU+6GsbgNuazsI2WCCNrso1dllOStyQvUkh+wRXB8ByS7ILMC5n5zLk0sXddXdQFKHq7ypjWg7C9C1/MHfPL/8RsAYi2KuP36ga/RZUUOvNHrBTejlE3EoVmpdfEXVZlfE+MnjbLusK0O5OuYOn0b0ej7xVh/6fO4GeeipBg1uNiIHms9JE7XTGCWTe2V1ZPef5K4MiPmw3eI2FBL8z3bDRnVF13n+wRUqjINy20bD00zLOYgtTDDWEBIg791Iin/PreDtT7fBKV1yfnnn7iuF7A0lWSImMJtJYkJSdBwhDETLGzx6TzjDHxNPGxCnqWhuQoEbIbjeG5O0rJi2hEr8LRdl+hv+yYxl+wseUzspAuex+CdhFiyDJFeALGi1xS8AhboF518JGYOeHXZldgKkGv+xwUAjIBYJuidMBkw1m7YGJvymxWrWBSifMErF6IduE7iMGrHUEDQLn3CymaXCdDLwBEnos8/urmKQiqLIBaiv23QNm2YoQz9qI8PDSYMpiwO6i53TKVnZPDGoXjBhuZqJQ9cebGW3xt0SMz0Zt6jlT68TAROTE6pcrJsJPN5DA50c06wymMPm1J4rlsxBp6Ysx94MKfsvy4gBMa8I0Z/uHW/5BPPGLBE8cjqYKlnrrf6U5qgiqlIoT9B531gGCoYIBf+M9rJlM1u9HgtZNcVdgORL1QeFp5MVF6FOI08yuUrUVZ6yw23Cq8ZmSd7CvoQZumQd2YqtPLMFP3ls45ADCyewYexGRT0o1dAF5Ri1BQwhpoFrylFf1kFo0bbSfTFe+Zz+O9zjjyhr/DYgd31SWiJps26xFBaocSBtIHAtd9BvslRPpOXaLUowZU+jdrUthajHLaU0eArOsgm5dpZolwJDB2TLlSNy8BNRaqZPh6bQTensXytSRWpN7F+a9BTKChI3AeV+HJADCRDyLvcmpj7dVkaK++9LblmbBu6Do0TDbYVVuYlL7k74f8ERYogkYEHosl2RNTvA5Nvc/fMpSG+cwcpOhBulzIkx9IHoc/4O0CCcdXjwghTxF+lBJMkSeHlDC3bHcZlFFGdDH+pc7YcE2ztv3xzP2gkNLJd+uSR1uFk3ka9RhnK7GSCtUyNs/qoqQo2LUjwkxR84gxJjqTLh+v6e03ELq4WVpLNJGGZSNx38mnigNqzKj28whnGxx7x7kVx1YFNZL24QQJlfPL6AFwNFwzyrA9IefFS9n7xaR636j1XABakDkaThhZbJiBXE1b9VUH7bKd92K0tgHWLuhDk9PS8ryqzjbDPBUvxpFCuMUDXXpsEy8oeCM1z2KHFsEcAfXIUi15aHdfrG6/fn+wCSp/IN8uT3wY+TkOJlmr+TYRpvTBgPV0m6Grw6ed3xJk8hzy/368MWrrzFb4bgEsA584THcP6p1+VRjbIbHlyLhLSY1oAlfHY+FLE7SyZKuhMWpiqCCHIYy6LNUQ7xPks5W/mmY0hC7hEwh2mthj0+PRBQqS/VH6c4l9rx0E8QziNKuWYqIRoAfx4LWOGJ6yP2dziRhwD3QMr3ieYTDxedSmaKeOhqMKnhz22bvmKu7Io8bugeJEp6i8II5YDzqmva8BnguRgcVIS8T/tILwIuWjxawFcmxms853C9YfdCtF8skwaNoQXP9dC9ibOKYa3p5oVb/wDZN/JRP6xIXrEDiCIhGwzMc/bg0YbpbKkDW0qnrb4rWo8B/qF7dfOVGEDgQphQoJr1O/K5N1w8P4AE084Ecl9vAvnayp69Mz04xiBBeiDKf4wBovs3D+6XkbyyfjPUwgrTMXltPzGpRA6RSqrTCMKKGlM1DSJAEUKGZGEefsVP1bukizLXbhrCPCqJP5G2c0aYFCS5QXg1IbYJossf8Zz+hp4yRTa5t++mN+T8wI9/bfa0UkDKS4KPAmC++utRGbKnO4+ev6a4KbP4sK7IKByd3o0YuNi++h+GQ/1ZKbQSBHnxwuWYIsD2ArGzZ92nqy17a024U6cmvKY+RVkGbwVtVePhBabXaBcMJecefScMUCF1ZbcfsAXx4kuX9bmhC4JCPFQcFttN8sZ8sGsU2vHjfmWWAv04csZGr/kjB45l2hfQqQtL/hXnNxBRrETz+hkjLsnKXDxOdNcRnmNwU89LDRwvaN2hR6mqHK5rbWd0Inp1zAptsq63UGjrTgt/lcTh2VEkp+Qi0jJD/IyEDjcDwBiEjNHA9t+1ZiBkcJaFqeqouva0CwXyD0AddH5qA4Np4keckNj9lbd0627zfedvNoJOWkE3yP6atZYnsGQivxr2Sv+HCkTdB9PYlMK1sbL/smXKBLyrZZ/O8brHIHgbX9MvMYzLrcdHB2gfQcC6GPEMEsl2Du12EWMW9/ItTCQDlZL6QwjTxH6D/UB8ERqygVSTXD6Ej/Ix6OC0bd4LuYeRXXguh0BynRNQND1D+XCXV2HEhBX+V06gNZ09C/G1EiH+maU8k9cSQpD5NtVfkAp3pwq67eh8dls9J5wXMVr5I8e+bu/2AedXbk2E1bmME7LrLQQkm94fFCkr8sHIoV6swVXurrDXCjjnx1PJT88ExElD9D7JBlaPCTZEWvRPpeooJEFkpZbcugOC8J+GO/8o3uWxb4/W2jTjBKhHV8aZv6EDt2nmFFQkDk0Qo1kRaDn/T6yhpciE/rFRpCmF1wvWQXhTZBQqgANRVMi+zacfH/dNVQcaEzpqf5gYuBsX3lL5BXRG54Aw7amLrwQiX5F92isSF7I8H76fk4WE9tPCHAQoFofAMelwWMCQZl4tKi4xVBwGWXUSDS9srEiUWoJ4M7rrgtTi4UORsnq/hGx8q1I9P7/aLBRiIJL2wHcWgcfX3azLre1mB335E7QNnUT5thIrl36yH2+4x7LSiYcjMQezYXXcg34JuvkAMqTLiJq8JFLDsCtF+/oDUkTZeAdxaSgQ0HU+cP/5XsMRCYiYTae+Gd7RHxTBHeDps2DrOXcDyl0gVb+mpkg66YHUtCV7UOF2ahcvTWKLws4o1aDKZt5YgLXAkorrhJGCBJTd+hRqPbJNUNIY9nXmGloH8z5CU+3W5W4vpPK5xaIUurIZ+1KlcFuqRhxTlbRsxFdDl/XHPBgJekd5H71MDtHjGCYoXJ/xPECiWONqwlJ9wA3MsRm76xKmvddI9NILPO3Kjrc2+57VSlruCXTHtlyMpf2eSlzdMYUpxi/VcQy4gsLVt9U+samdSueOlOZpItpKkauHjQQdySQN8ipC+mlw3Zu2z9rd5iO9IyX53GM/xBpfZa2391Rgvvps40LjcnfRBIq/pf95K79FnhROlpcAzdVHT2y1TJH86TSLSPP1j1+NiIihGADXPBDsroNpvf8/q4mdbRu3AwINkTUYDLjwgNCkwQ7AeVTaw24AIf29kPTP+FhkzM7ZB+KnvQeQVPvksgg6qdhMZZD91PPNgW9FqYaQlU3AdwpCbingDbnkYPotM5VZ9bjjidFnI8GLWRh5MML7gGmN9UfT3ysCQPXAJE9nZUagklts+ar3Y4vORuyq1HN15devRkvgGdT79LUaytz9SADMUw1S+M7nNk5WeUcyWYU5PlYmY97PzNgon9DGy0hHIVIb+VYuKzi9edt4KtAIIBSYw4e0x6TnR6PX1BU/EVHifmj85R4gT0JzQoRXTqcj70mB00a8yoxLseJG0/ZXt9tlmoOE+rLGlr1SONX1xCvOn69QavIodK2d7IsNvmlLfCN7gmDEF00FIC48/yGjuWklMKbHqDU8SyOiJCp2Aq9R8857mldBjvY557OfL6g1kOrNnSxeBbxOE4N4eZH8PNTOyb3dUcDp7h25lCUQ8BStQlGLEEHVasr/djHUmqgO7WXDJNpBYKltBp8carSA9/iYwOAR9mU9KneByvsehjFS+Y5CrYw1xy0YysEbFF7z195pxWzettT2jJiM6/qyfv8/DMupuxjK+YW/Wc+teiSGzCRbT0zHWQt5kbDjjT1i8anVtmzeaB6wOyoInRxY4d/BHGPuKhe52w4W3YbT5G/uEztpHQqVUilvp3mfY7Nu+5KyNkVMMNH3b/Ro8cX8epmeOILMk160+5J9m/669oMItI914meuEMoVi0vBstcywqTCmQaPwd5H2mI/Ue31JP1avRgYYvsqEZDpQBPpvjQyZHxNSoIPRFz/N2869Z1FZJ8Er0D/vOunxw8crf4Au6fxxH9C54BRw8SYZceCIF3Hk49ig7ec8Jsv2kQoWpuKfKyW4zThBQofqoVvH5qfnspm5UP8IyFYUvK6bgxFBrNfhjYs+31GiDMaksMs+iRnQzffFjXOm7tbZm13i9V8iw7Q1CPPefYZKLE5CVb4E9f1yl2XijtnJd17S6WeXhqt/aFPEvT/okzMyRRW03OCpf+6pfGpepQZjgjIljo5ao6ZYRTkC85Z5J82q252YFOupWkMcwAKbXb/TC5T13/9e4tfGtk64+4zkwVsz7C6ytyTZgF+5J+oOjKpchgniuuqj++WJ6MFSa+UNcPL1eQ/d/JcVSenKiUY5Cex7G9XgClVe7Zr5nR8JxIEBoRiPA+x8QQiA4/W9Fq7w8wLEUJG9jX5sFoyXY3rK73YeR59yvXiG9uZY/d+3Xbn9P4l7Q2X0XgeSf15ZA27NiwMNiWRG30YSsByVJgZbDWmD1xagylIcMn/EUbLS7AuL9QDkOe0/+VIqKD3S2lwWy6bZsQsXUYMg06Kt4ge3WMaxtZnulFiZcuuHW1M83GFhG6KCzAES7btv1WOgpZccvSyAB4dMudlxMyfWaEn4bYVShydphAi/oh+2NK9Y98jL9jnNaoU5yddQhoJwa2jHBpHxMSrczxL+qgglNYN1sGtZpEIB8iHau/v5tcNTB9i1sdaZHgGEWKdYDYPluvgaEUq5cDV0/QsS4kfpMySucyv57ylum402wKEXqiGmbRcCPpyzjeFkvQAYtVn6Cc816DUB1wUH1yyUGymypMGRkJqpvp1So5GFMv1MNZ2l//RIgY6moPQAdpBxgsLX6HcAKelEV1l4Req5L2ZtQXn5Ozau886DuoWq1c3TX9YLgFK0KzHufzN0vPw9IVTX5P4Wm68Y/MoBcwDkl4grz7s5Q7xR+WTP23WAGzUNIkR8hdMHqrqVYcr6zPkf8Bfdm162GYQ4ZVM03upz+D9JpcYpA/1dx4y6w3sfvkZLyZlRpMy3+XuAlFEUfHThyy7NYY2IHtrO60WGUulm0AWstm2V+nTI3xN3GPPmXzI6tklTEBzLbWGwdvUWxG47TiYFVTFt6XAyxUzly0cpr1FhkQ3DoqxHAFs9LDv+jpu72dJylaLZ8UooV7bae+PnUZhG2Re8fqo9PTUBJh1EsZ1A5a8ZKrg1sAzSwjyW9NaIn7wMOvyf9lbcs6iUcodjhvwQBR15w/Kq/BEGYuZtJ/oS7MG+0JXsKilmhSPeTKKMv0dFYmohLf0b5YtVzKYU18vWJKFJxd3yZEDIA9Ekq4DsEJwxJ+IlhR6JLrlY3ow/0/3SrLkDIFAIFep/gwSqrsIYwq6abiERMJ4UE08Pq0rM4Cw1EnZjBcHaFsFR/rB2eZ8YVf4IR4+ZXtq/lBwfHgW4+MOLAq9wE0vCY/wneELISU1i8t0mwnjWA0bHPYNZHWenMJgSeGHq/qb0F2cwi4oCYkNqBZymNMrUE/uZ0995lUaFEiDh/WS7djVchc+fHrRyFO7KBZYCa8kbY+9p/krXdwTeVV8kLvxH7x4DnZ9Xy6PxEJjfeNS8yNQsAWqEP0xlotzU7wL/wNSQgLOvTO9wIrKFVml4Nmw/vygE1MUX0zPPQTbyuepmHVkEHzQa7nZoT7W1WJz2dTS1F2VBaF5bXBUUnlpQaAfRTlo2NgxlpMCCUUUHymPiU4v2JU+3zBDlwYajQlnacjNHF9kYbtpttlvqksveE6Vg0IX+UyyfcCyMJ6iYOlVtZfRyGqkP8JBwXupqN+qWtWruQ3tuCvZbRe9KJD6W/f9WnMgG1mloOAyIxoDYQhE+OXtW/Er9OmEBCfGmzP22q/NsgF6/BXeq7jV30rTCojQMHa04LH6AcI3pJn3dqJ0YifJiuzxW4+9M/S/Tm6bwLztPW3AKoxFJiF7O8mLAqgQ9raD+0bFJrdrGvhoceNBZUmFT+iT7MRzBfHGUm/v/ppbFlUBNTzGQmE3813d58NyqrdvJJMTF/7peod8xo38pEhOz0eLfqyTl+inIgz92A92Cv/ff8vZMjP8LnE5meJU58+qUgo7RZGMqLfyrZhb/39c/0x2UGITH+mtS6Fxxtx8Cz3Uq4vrxNIWLP6Pumwpo1LPpNsPQqfxZ7NIpbazCymOceQUdHigL2qRNwVXJtt9m7TBuTQ7gtAz00loz+sSE1ZZLsVDWK5nJnrBBDFV+sBlanI8tictx3Sf2uEW2rJZKNqbha5DvPeHVgnqIn8BnSToBxE16SeeWkdSEqR/42niDxqH5QOlAQIPjMHlQz1fnGpeMW4ou46onOIbEN6COigEQ9IyeJVykkViwruVPLUslHavCxWrIH0AhaugBD6nzduvSqD9HD5jkxPN6o40Iu7mbQmHcRm5gp6D7NrF9ZanKLR1V0/eE4Re/4/L3Yv2e7+w2Df1Oj6ZHgXwEtjHqj8E7vWO2h+k0bzC1o22H5aL6Oswi06++bet2qYrXSvVLPObDDq4Vd0t8Z3x+It926U1QqI2Oalf1gtvk9hv494te/G4TQoeUWB1NcCYLYOb1oa/o6WD1S6sj1c1dYad3v8Ba+Q4CM5+lyZrgVdTGRcZm/mLvHFtPNUcJCYAqc23+wd/tVig4a/d5HeP8G0GslxQ1tQvBZNwSf+X5yHnveBV+otNFz3ednf/LJ5maVSAnjY75FW5jw/gHUD1AXzo3emjd5n5bn5IgwsNZtBgIGIr7y1QY5XPCunZfs5yquu89GiMrGPgXOXLTWRl6Ty5wtuFa7OUMl0UUwgqaumt90XZnjTX26uXiKxkL42tmxFta0q3iTUbC2xMWLgy02TjoFvgiGrdgdQIC4tj8LlZcE5QzkCqY7lenvgFF2hoe2YdKWZDa/yQgMqWf3hoJmyUttgtZwyuMhZsHW/ZxJvRwzYSNaGhEbJizLTf+cfAjbcEAn1oiUHydCSfZ/u0NJBrtENlRPegQpqxqQahhstVwIxoP7El/B8nUULtPTpW5fsgP9WkCDCfwZUv5bCHb0vJGSs3QHpggnEuyS2Y1hMq3ayG/2JM1fIKVpyJFWN8sAgel0yWEFG3T34XoKsFulJ5L5BMMMEiP7c2UrXeS5PJjdX/uiOYIVwlmQjMjJC0ZCUqb0C5PL6LlZeAPmPRJFV8SNCQ/G6mNkYQpUacL+d+gFvtkDMqKAwGF2TWl73zgRVlZeojehhq7jGbzIYNC5ndDDucuUd9Xmi+FzVg4NYAIcb4egfhHcW/4IqI0LVKgrgMm4cMWxBtk5qBMZGuRVm21LY03l5rd8YgXll+7L7kp6X/hJcnGQ0ReaVWX7+jChMI0M5AKWJfqOFxMfYrROPtXWQ9n1CllA8VDliBUcEKvH0iQiStPGHSZj3+tj73gEwXHLe/AU/+131CVX0QOES799E5frweiM3PZlLnHjOF2NGsswBEdSGU+jIVYo2l3kVw0HCGR/bXrm9Mr+kHHekpgqIUULhwC0DSZmk3vNtEVEZEZ4QldvwmOFRf1WtJHh4eH0Orx4BzcUWvqDk8bWWq6madiTbpSw62D8LXstyFleUe8JmWoBb9VOGcvdRGCKm0yWM5DCaG3bKNZr8Viesf7/L3FasrnIG1pe1Oup541HIqV/KIMFT5Acu2jSVlAPsG1QXck7/eWQJyy94V50c8/b39VdDhB41ObMxynH/ef2hoddrWXuAE3vu9O1WL42JJPDHubMavJtTskRWB5dleVpNYQ72Ln4hQSJ/C4PuACRpBsojIod/5PqsXnq4QQdrDmMIY1LQPToxhhi3xyLPOnByuE5l22g=="/>
  <p:tag name="MEKKOXMLTAGS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1QIPyzdgiLUyzw7mgd0jqO1F7QB1f63xV2T3YlMOy0zs0D81Ub6O/Vm7bR8vy6/faHEFgfVJtZJzfsDee5X5Re3quTDU/YhWrArv6SOPf2sO644nET5Qz3aA82cs0pGUQcGX08ia+AjSduKdOACHlcQszaFsuEd6slKMK3qzuaAQfaoRfInBTsaKZW7gpkweTrhtuqxpi92dZCCPsa8Y7j0oM0P2/gkciLJSM8NwHhVhgU8S0HGNoosU0MhFb3Zk3YzJku971I5rlroYEXPBRrRW4afXuNqHwFIMTTHWs0bSIgtso+hGmfHx/At6yeVUlQChSAvPYtPZjJ/Gpil/GJy3a5H/ta5gAZ5bFQ/g0E65aH3LNO1aSYkxmAJ6iB+SOSMzMhSsp3mWaxU8GL9A481GYg4GBI86hAzaee0rJu1PIkb0PHOWqeYfEm3d1feKaJTtmlfLFTO7v07NdK+R77wW/eKhbDGyj4h6GyYBczh/Bh3Px1wm6LpXqiU0YDKnjzSuHjmqXgtbYSwON59TQW0GUcMOo1Y38MP8wM4BXL+pLOoJR/cPq+0Xa2Wpa+lUtLun+fq4CLw2S0LduN84zaxRhZhpPhbIhWNmEGX0OYdtZBMbdqrGwfPgNjZXkPIc5EvQ9U93nzXeOBOt/Pz31e6HpRLp+59ScKqsuJTcxg6vxWnqrRe9MIiMKwiUsWKigKNnSaXe7+o5l6lnO+mlXvMzrLRkwbNN3ABuhonHtTIcDFy4YIs4OIo4XPzFDo2DjtEWwScC38A0nElggv7o2S545lAh1ZkAQ9sD9BzT2oNXvV2OiLIEUr1XQqUJYn3BZwv26/5p3kvtPjDgBhWPGqCnMuSRF0Uv9JytwAxLvENuptGJ/lzSzxoETme0WBw3yY1WIffcx+D5hZ4Kx9vdX2Es54i3FribqzmaGUuajnU8dRypqeCcuNGLpHKKwC4yXC5qmT3ukGtfFcMLvLgmQ0fn7cz5URwFIiHtG02pVyoRasloWCFx4Kk7Dro00YCMmqxuTjyMbrViXtuloLCEkOlS6gLqpZmUyrBTSNY5jgcRSvSQjN/NUQhBwgrTHbtP+y+wBEvaXY+pfrB2n8cR7z/eG27v0SiUjikLINsddCkL2xfncfrGatHI+yuouvYhKOhpjAEyrLTiEmXD1AMdM0asE++aGeCekKY6xBUu7I3fOwUkdieJEiC+QQpPu6zVu01T0jxu2IEM4w867HqxX4EQWoRVjTgGbpfndnSzmRXf79HeZJeQ1BOEx7TTWRlpM49oYng3g7x2wz5JOAKjQVMwV1YgWssHAqRPdGiHqyBvgPuYLCTlShJVoDX1UiskdwUcWfh82ODpxu6V2a4wiWkmE7FprXbxo07EYbyoL9ukH1iaib8/fSxYM+T8JIKpD5fqELfZiA1ZUZxkjsf1lzv/1EBbU8I7sauSzf7TG49VH/21cvljur7ympMR4l84xY0dG/yuSZYH0DAXH4Nu+RuVJMnhKO9RHUbzwatFv87HRTs/qX+ZAIETckY6aS55KJ6s4P1acPU9R14lkCwLTODooGZNaBUPsKQTUPSLpqlVoXto8+wwRnFkbuXPzr4/JfDsOrvkt1o+4SUkEWLG6AXz+1Y6OVGyd61kLs8yNU8EoOcXwVvR9kqiWzSo1Gi3Fc5RC8T/9lfiwCPvmgZ/3Ul24SPrRi40y7cOm/WOl4CGHBwNgQNyB+qimtccN51q1l6iS0Z33akh19ehi/hj0qHVgQ/LEVX4afHYqaEGf5++oBGD9mKpu/ukb9tg1ChJOc6hSmZlExRhKSYswPLNWvjqY7yBFeDnUwNWyUtZlWV/vCJa+hG3I6jJlUckHMAv5CMPbT6n0y+5xJ1C1qwHU9NsTbERppIRoR5BK4ngFgQI2EQccT4uaZjoNhNsvVh8l4kSkywsPyrsRrld4xHHla8uqCJc3tZ35xO4+4rSUrkWPsyqc7t/0jsP4lD1SL11H33W1VCRADiYFKpWEYARk5efHM02lHdRv6CJaDDhcgyUYz8lSbNd9WMSi0jGm5YbLKtYKm0qn9jPlmgUFqRKWpmjpf6JRSBKRvr/tOtMvHPi8Mtn4khlTO05rR2FZU/aTT9Pdbrql0sof9EBHpjhQxYQSUjP/ikChZ4ZZbSFHHvVVOEDDtO/fScQlKkDjzZBb38mzUhXudCs6RFq19QuOoRVteGVFXWiJb7RIXu+5tmr3O3lmZS92zme+YhrA1wd8CmWORqP0CD+jhBtr8NtuDoojKN/xW+x0mUOoMyL8vP5o3ekdyvmEsQgVXiyyspJiCToWXUAqCaY5Blrg4wVM+KsQHLd/KEJiToePR3oVSFT+fKSA6QBmDHSLpASma6ugWcH0pALGPAkVCXRueKe5PqhaHh4w9ioK2/OrGFk6U+6P9pTYZI71c492X5SEVtRQYPhs+OyUMfEO5uNIbpMgmdAMv9kntc4Fh9O0kYWIUJIvR+9CrG7zoEi0wYey8mZ1jKsqHZ/NwuPrl8SnBA7Y0zTkSvzC4neDY2SpUsOP+vKK4BKviDUcN1QVVdiD+t9dGcpqubdUZ9DDCvTd+OgEBxNy93YH3WGFDgQGyXzYBqGqgNI8I01yDKDn5nZSJHK6FMc1ty4TY5s4+KJhjT1vjFZbvC1hyx5bp4VLW6BOMfu477wEI/L1MZ9fJmLHPR3lonj5txkpQI/DX3anYU7GUEobD3ldm9ICYz5RfzTFbgR2AUuuawNjQ8fvBIR0pzBFrSVisTbl/ik09xEWnFW++353XLVc7X5GD1k8jQZBOFYQDrRIKvk6eLijWcOlFwC+fGg4t08+lAEQe6rlKH6/lJPTZfy+IOeoAEOaXVJik8xn0XYHX0qE5A2lfqcECF1jEX+0GkVCKAouHybDQtt1f4BmP1gRQYsPMmnXggrivVYPq/rxJeBV7+lVfVdeV9xZqP/OKnTGlGhHvCa6OStmSRAwFsHKenS2o97yeSVLj4FJjkK6qHaEyLSU5CoWjBp43s1TTGDKTMwmCzDMWREN0o3sJmF0KZGdqplFKr5CHeKW+eGjzPFupoSBzczd9bL6rkNn5TxAvvyu4g8X0TuOywO6C6D3d3zUG1riKAa+vMFpRxzIuXperBwhdQ/HrCMfGt6shDOgSP6u9paVuUF0wkZAWnWAiqi7RVMoaAu8uDY6yEbqJlJIPzm3+i2gVTpQrnHrSqzYGC0Mw9ITMl59YQb9TO6uk/zQAKOKV6OkotMaRkMKe7oc+DlVfFJd+gPigCCrSwFxtQYmc+KQNPK47ZNrp4rh1/mNkQitmkpLGN0hN5NZ23WjSXpQyeSD/dXuf8UM6yQULx4zXug4ki9+rFxdehLNR8ncCI21FMwKZz9P12e5vjxCb9Vbp02mWcVpX3Fd/EZY3wWfSIKO2JotnQQHVMSkuo2zAgWNE3fQtWR96Q4cm55P3oAJdRRkIqdMvEUhwdOFVR5hu5S0C2l782ThhZI7aXz/DI6ugq+U0vOlpW20HGZ1fyxnp/xnJA+I9+ux95UG2ndwKv+3p1JM5U7ISh4fYNRS+1GsBrp0EQzqm9OsbNTEdRHpNJGI873isKVE5V+jEW/Zk5jism9NzzF/U2OmPfkS/yhxy/mdBKA1shkJ38PIa6a+Cl1Hcw/CpyvD2zzmeTEwtIhhjGwZBWJTge/guHNiSMHDUkXOjOgxG16gc+nt7FMjhBlJmiKiCut7LGRH2s8MeqXM+yq3NZr7vfsUqX5wDTXi1e3lwabbEbck0tpi6NkegF57gbyyvj7InnJA7jDn9ILL6iQP+WXbFr1ayFrV5v5Ay3ATHrBTHS7zez2jvBuz1MK2tJz4+U8yoagfYelbYUoIu3xEh4mE6UM75JUgBeEXJ0ymovSjqR7rZfsMokLEBgUWLnEJAmXa85Xh87pYyCXO9VASAx5eXuhN2Nr3B1hmV/M47oI8Ld99x5wkF9VUafdUfK0M9+SHvzo1chiPZKtiwYiro+b73opzQwYgRSAP8NLTk7t6Q2hAanJZU1n6KWEg4sYCh1rxOYMCYBaa3DvKxl7x6jUhhop/mTzaIKasOwFGdo4mIv6Kh21QStL1/zKGn+NRIkF+1HvxOM/kmdFh7m2ifwbD5rLUPh0AVatbZ/p3lMh0kmZOLKEjWS89FlWo5w+d6PgHHmWvPJFOVYgFZxF9yRRU3caJvzWkFT3ir4k6X6U6dNc3jhj9sL3bKnyHIMHlJixG1jBLvaGaCHFRqy3BFp3arMIb8P4TwhPcKiEVVhabzq2km3zZE77d3tEAW5eH0RsN1aZcCL3ftfGV3LEvg0Sv9qxUU2WP2sbN9DDLhHgvGcWNk24DVQoB4777yLtMk/FYJftQfCqKnvLfbLMf2hjJh6p5vagktWooh4D1td3cbduKQtBHOUVgC6mg3Z755IopDVQoHGe8T/sxYkOkenjbRh7zYFLaVW1/KC2g2ZnlGXAQ9kvbQOolbnj1rlBLX31SbdZnplvbOKqFr7zsM5wccoazF4doDMfAesuWchDpO2xvfpbu5z7Os62KSQX+GAgf/ETTm10BD00WTjkCtwHF8uWxmWYek+KPh6zNDL5XU9GJcX8l3bvd/iAEjlXs5RUhP7SEC5NGNti6sf3idRUxYcyL/xGs72FUMvWcOGK+2MVIMSIWqgpfGYDxf53SkH7qysxjHHab4qm8l8l5XTRGToy/MSFh0l2KHBUu1UxCaO+kiRVgZmJmw2tqVffKXSLFWTW9a1/QUakdM1SDuZ+ZnPNiZ6oD5AInChOKoSQick0d/OSFY8kGbcZhX+p3pRiR51KGDHt1q9Qk/xuL0JT0MfZL4BffChs0jTlIDq/+O4G+O9r8j1SaCzbj0JUIOD/ktg7mlYDI+dXGtnZ1rgrlKakCUU9tX5PIJE4yjFWiRtCssxi3VtS6Xk6yHKowD90QgetqTUOjZMbQpoHhozNgxoFGosPkgzk+bj4oms/LEmKmoi3ziXv7dKjbwR6WyYNAbJIt8RBypkUeRkfIgsMBFpj5P3vC0BWs0ey4uHKWOzTS4Q9Znqi6vXXJ5vyr7XEdPNEmtwJLEnVAaI4i3aFVeskww0ihm5PflRLZ4XgIl/LiIgRpp/+7F7ipKjEav8M0dAwIjNoMz6xHRnRcyOy9WsKyhkibInm4dhQUuxGLJ3GxKSM1DM3sOr9dwHVp9jdNm74gVje4Y73xuhI+zF+CqgRLPUYFt58M/9kbWudK/KVIbZJ6Dgr5T2YOc0/WzeYvUcCj5GsCgvQYSRXtmQ0GTTiZJAaZbAkXoj9P3k2EvB1BZF0CGiDY5LCBpQzlkW4BLt+xfXSfVNllTIWrGEgQM3fd+bSFtCbVZ3encq126mWEOO3CwWJ/D8Wqf0gsOz/A2tjHFQT+A753tB6G7nuLxFqjTZyWjXRshVQi5clpZPfRjP4CV0EopMkSTJxUlGABVN/nheMUKkemJ7aPdZOCjl61E1mU+0+8bmFyhm65sJlXUccm2JSFn+7lqPqTRx9/JdUpPU1vk3KtmGSk4ioU41vcmoIbTHdLtG3jQn0Zw+GqhOAt9V+kY43+PFIXgYC1eQhoVmEJJy4YNrbFVuNHO4Oz5G31IG86QWaAdBdzVoje199g+SyKxnAmzAAXP2HWQWwWnQLZSoLA8jHYwGe2W9uT2Wy+uAZETq0iwASZAcqfuRekTusHhIgmZFnPCOg+hzgFXodNP7W2E/r+OYGXaxpknjV03FD7MF5D2bLBpIC3W2jU0dsDAEhAFQlWoADgBOuN174T86KZs7p560yxSSCUZVeJK/ZX1IQhMm8r4D4V9zPtEObGi3i4wCt5ezzrLAz28ApLv41LtWl3QD++R3okY6qbqCKCrN3yosQgtUdyvWl+pxYAgHTU2G9s7s7We18Uen50xCEKe9zqil8HVd2uZtitT9pu+lrr7R2iWCzy02pALPW0Bx9SRewElZuGS7mHPOaafDh8pbsq8K7x4eh5Q27bhGoze6bmm9vyNgt7ptV+w6HNdB89d/Lr1A2YcnLeJnR6Bh8Dn2dzuVL81v89zVnwzz6550U/RYO9n4zQ6UPoUhi3pv3qRf+Q2SAvVH5SRZS37J1Y5/+nqC8MaAYK7jU/ysP5VZrmd5nLu21KqBuXWGBxb5DZ/juK5sOYgLgZH5LMbkRjEVEP5OjVPOQTniLHbIt2jebRtkUFmjLJFJ6UVCc41eyqRsFJRrFNayeE5cuXtZ1mAwMMefnn7NVs/rWWbGG/sq7+QBBbHOYTAdf+vy+XfwZNi0ra/25+hTB0sgQ259+79gPY4BUYfk2IPiso2nFo0pQRVaIYKlM2q3sB9Ekp6SaP/wo35RpBkO0SEgVDKt2LFbLwxE8bp44deDsZY9783t38ojixE0vKOv2pom2VGjEBd9k/06Bp0TdsaCBQ9OGJqXlNBBKZVhAtgoABiS0o6trZ0CkLyxpR2p3Rd5CFd+gYQ0NBT1vFe6T0iAht7NgkYcvSE2Vhn8gCFrqgO44cqp1KuR+XCc9NNKs2PO5xDjzuM+HwLwx2reBOVbaH3iAAzXtQStrYFc+XSiw+p7s8OIAEchV2wbA9LAaKHS8IEvztJb/DQVQrLrL9ENlCp9FLR+jSnMnU2YFTmVdMzYZJeod05uSr/9z6HY1lAg7DxlYm768S+OjC9as5BpeVuu3dcOr0y39Lzgwyx7+bFiOo61PjF8YmvQxvVj4xbvoIizNbnbW6xSd5i3TD4xbEDPgGcLlgI+sE1owo1vjzwWQjS/lEmXpTORMAvImqdX0NDXba+PVNbk4v+O4qLJSJinN9SjUpZj4FMezs5iq8ySiqv0FN01WpkmlHclp4QtiRc57v8gpNm3oJ2S/8FIlieD9PswL7qcf1OiKR7pVS9LDjzMPHJTFe2QheclU4wIJRLcwIdFzaTuK7WdZ7poa0FCsIB65EfKPlX2p1VeOsleYIrNzX9hMhFqWMG1ahoZpHnEso7bl+pO6NpOlLatpL0lglGrjV4AQmtyAVQHMxzvLd/Vc75qFWVwg9GCilpAVzNvgvaeG6fbgtQdjrh2WfTWMmsu5G505zt3sJyi1JczCZSITL4ym7A5+VWR7jOEW3w52xkY0XhjUfRHgvEIR1r5gdfj7lmughDe5QOv5/vAguSBKPUMe+hhfwUFuYEDqvs1D+2m1Pc1PAtqGqmF+FGepJgcadw6QjS1G5tZT81EFri942+XpX9rR0ne+6IHGCqw7D4SR0lO6uBWR8ikoEU8rIWdMrCoEHPaQHbFpwt42hKV5njyQZlE1IstoriMMop6n9GYUtUp3vLi+xadqtOIg9KYshqqVdOjQxKvZgkf/jvOqUqL2yFuJwlehigpyVJrkLCOIMTiqvyGiakLUUj5b8aamDWHyxKFCzx/4VJrM4tt3pt1qlCu/NyVMf1dOrwiwu5d425k2+6zUj9EwqlygR7S6f1b9wGyErgyd67Yg6GKr9z21IBce993/AAF9dqa+/5g9zNjlURLZyQOcL5STmoMWCLOHl9UATQUtbbpeO74auaqDZjHNumNlJMu4UDDhK7NQTllofRQMShf8nygxTrvQwc8lLhWVBRC/Qnaz4utcxqMWjhNWUX8RHuxq925rrhsTCVuEO0pzC5gQXLPr5rZ2R/kUsLkxq2I0d66dUmrxFNm2yTCoMz5fxoJFvt6XDC/JDFmQLy/BOWmDcyQOepumN8xsYhoC3NVSI5Odd3GuBeowd31LX2nFhzfzgDqIXPhMnm2wJfO3jm3ndgwDLx/uqJMLgRvGKODuh3lQoyi2A0lRzknhY4VphPMEfctl3I1eUVybmBfWnNzR+dewQFOQXuRmlYqSCf8Nm84oqKbwo2ISgrJE9roN2pLM3q5/hUMWR5L7kR/VY+K4uxRGMndXBEE8Wy2kxwY1HGJJMr1sH/uzWFoUG1Bbqe9p4JAP2qQhhmT8S8qIwtfC+g7b7llioNtnQZk7Q2k69SUs96cPfebX3pPGgvN7X3PIj56eOsbNKsJozrbxlG82p1VacBEehlzNR8HNPNZxJLy59oxfY0KgL/wuI6Z5Xg9jMB9BUkrFr9qu6kV1XZiYzLQJH3n7IdjV1lMg7PtAl1q97PizpOiENkVx1p9Yrq9mDolnNVGXWMzw+JXTq7bPj5+KLTIUZZLR4zTlxQYRA3VAKj/Sc8svygAx6qgOLYzML+Jm2hqNLEPXqTIjUWMU1jSkCFfnvW29bPMO3Odndk9aKNBlbq0nmdyPMUkcVqnAZVGI6y5/shKcvlG2QZEDUjelZLIzB/KQ3E+Sa+k8nB+NJNalITlim3r691tiUvs0A70pyGb35b150mu+yaYmFSWPT4zkusa39idMVix2MnUIIIdQctYfQXTzGdVh38IGHxMrVtPuUt1ZJTWPu2INAtvxrDHUZZvQbT/KeOWahlN5/GMfEOnldSqwD1V/8d7qap9B8gUEoqVNW1LW67QofzeLq2sWhY8KhWYNd8iWKCxP4t1CTG4LiNvNxRlRldnerS3p6z/sL1QFl/7mfuU1Q1Tg257HDNBE5wwFzvfOtONAi+onRC8yOLbxO81pJyr5lZ5Sv3jc3sgRkQ3P51Dxrf6lzQrq5FwgbqW7BG2jsVclEEUJFk6Q27DDPHtgDfW3I0BJBmTlDKGz+bIYCc75Sjp2p8Lj/swO3M2d9rweXesFdCbeDexa7tJxBT/vL+92nGoqZJmCXT+nX+tYIVAhLpd4zPsHO1CmOthDJGTTWsZnbNljIQ5I2tw0MvQGvVDOtXBseRup2swwKhvdhqyOzZ23ILQ4po4vmuDcKjB1RDORZ0X7PZ6s5KfsoJVqBentnSpOwtGsbq1Kx9NqL7QTH5roGHUd2ZLhk3QkY75Mk+7RaZfo68GMIQJPkGxzYFaYPDs7JnkUVK+18bTbOK2YbBQbf0THaUTS4B/c8KrqRQvRiVHPzxbzzsbpixB42hfjZ0Bb16bmnRgcKMrnTr7krD/6R8eZO/R7LdYc/fafBmQTiQaxohxNQF/MBvH4uDZMhCBysGYG9J3jm65Skv/eGFnXf7uzf3djZe8JRGpgYeTHBljPsFdZIpetTLuBEy2oslTfsZUW9rqeqOw6sY1KtRZ0JfUxEYsqG8urJ5GzBhqeMTHGMEi5AWxDId51EW7yHBesxxkoi8+QJKblB9OvK8nW3ungsD+eq+dOakBXV5kC3/iohmDlEMJkiHHWv6dzquBFN90GfaAEmlzkfPnLynmljQkh8JWIlriPRCAoG9xlOLJXZEc92rgjU5bXaCzJJxpV2HNC/h6CJpY8hmtMHPxmMPA6LkgNYxSxWPtzPJuc2qxHEhM3xrNaDzDqMJo+m2BaTY8/MvbK6qCj2vn2GK1fR8fBXkApfT5Ii+ol0O2WsYH4IuyBl+pM21lwLunxdW59nUwl/XqAUMX3mWOowAOq6xYQ25P3kc8SjuZM7/jwyORhDBBo2F8W2HyT5lPeHFTniScKruJUEOltLf2WMxGFlLJWXS8JcnL3vRFOPVZ3apcQycCksBa5mEbXUqew3nNEbOruWhBGaE2eGpRnGKkmzKwrvzdV2ZH2hUHnw2DDqABYE81vCeesqzzOk7or6BCHFcfp68HGewGJlmKQf9XRmubLRSWUzEqoqz7g9E6Vo93vXsq0zM7pAqzTA8CyyhoOfcM6FZn7hV+ao0PDC8NYznYtk+/MnmlcFs3oEVarCZlCucxq24qbnXDqNN8AwDdNsymmskOIVnDPesA99319zvM6BLbeclD7wGp6cohx6unX0KD1mBnn/Jn5k2yauR0pFOeavLlcchgFIUFVC8UL83pbSRQAS4ljA4TP8pEc4Xt8pAWnXSYkdGuqvU80F6H8KzLHQCkJrNI7B96MpSkbFfwQUP/bqwwaRSjyqPd6WmH6abonJOXUPqp3hLl0HKXzsGM2rAxY0YzLWUKpkhehwnSzrXhJalDjs5Lhj/xaMTydLD5O1PIvSFZZf+kB2LqxZlD4a+fdibqyb4B40xZwJ0muHm7Yfwsjldwf8aQtTUFpNE7ISWAV7PH00iS4cgU+nYo1pB8+DSGq/hJepzrGBvmFATddNBSzNH3+cUXhfrLrD5mX8Cb/BxJT6cuXOr8/STrYccLvL7YA/YS3K1LKaJhlWowG0rPwUEAAblyUcaqStnNUymF3Nrl8+2ZxRmI0eFqDIsOGdDOCARzDKSSb7CsRIzqlWLwCjArMpI7NrzJWfUUaDG1aoPqx4E1HPvpTkopntvOfft+Q6hVe9NiLj5V1QEge+FArzHfl7B078VXnJupPjVLMi2Vd47vXZ7dANXmbyIFad/DdMRavhpXy2R8isw1ZMCSiyn8lWBu5OhiBKEKHcVHBoWUmNBJrd1Jzp4RorpRxznq7JpXjPt6bt0e+4ja11kSlr2Nn3Zqcobpv4eJXt7DsJhOaJgqMA/RlPY+Lvm278hSHA3w2kY1HfM92PvNivee1mSCqtlvJe3ue8o1lxPoel+CIEFtsFAS6kIqbChTKpHOZGR1eUfDO6d9B5cq5Axq0ZU9C/bvGALr8uCYlXuIZJMCFm+AhvU076p4K1c7gJncCgbznDovEb7ZGwMiXp/9DWjdeWHs20OjYl+9GLFjbBoBGVWR8oZl9CYokuDD3US7lQEHq9DRU3FsojNDFaqPGOkv6NF5nuAbmWHIKi9ZlMERPSU661zaFftr2WdkmCnqHM94cGUoT0PEKmcJJE4CZ2N2LvN735t6agn3Fo2OZQeRvAO43jFNSHYkWbl8hRnrZusH85DPY8j6nLt8T7FBCvwm9rQCqilB5lhnL0/d8XPJUwVK1kLy8VUmAfUSSCKOBq1LQOE2CHnDCU89hBMKZ8oeFKWtkVg4FcRWPpaWc+YNwLJLvLjyJfBkeTh7QaLT2lyGVEJ+I+pRlLbrdlxZUgimd/dIL4us20dqgqZfbPHhel2YIZ7aVpDi/Uw+GiEVEkhCNwqros+EzQdCPMaAqS7IjXP3CHm1GK8CaAYwzISUt6bHiw41EIlOwdyGe+16A/BUq8CJ8fc28vAlZMZUkrkCpeuRZ0r2JV20yEm2WeWKWs0tb9QQQE3C98kZ5oUHksxnuX3++RCubINtAwrsX2JlU44NaeXMVSqmPk4yiX8fWHc40uy6XG+ez7Q/nI2VestjOKRDEhLo/8FIvroZwncT7hU2RFr/1FH2QA5kj5LgxYjK3uvUJHQ76mXYlAqRYI9buPsbIcufWdQPj4c5D9dM3Z1hAi5ELqqMdVpIAeurE38Vn0vqO+1KcRgjXa87FKg1+CjtgRO7pqaUi0Vih6awxFqbenwcWqVZukLd4QPBz4sbdmiPQzJEDW0zbHXxa+XXuvDELldzSoNV1FaHL0E+sEw+Cq2FOsEg8Q/u53JWMn/m3fXA2E0KGyWuaV0r9hAhlVf9H5Mgp6KzJX+Z85wCY33/I+uflWLJlv5NvKCoT+T0Pw3s8H1wyFuT2aXD91Gnv8Cn6Oiyv6IxeU9smWpi++YXir0yrs8cUP8zdQM0+Y4vMh8SmZOwe6e6uvbGDCaNY1u6rqLFhFaJZqN2yW6/avBRJdhsD8ikGSO1qBSShAdeBafGn1UkzF0H9uAPT8eYBOph9zSxpYbFM5AA3Q+dyFCJCSNrTVTSOzD9JFw9TvIZ5upTRx0U5lwQZ8HEVBlH+FHV5CHqWSAduws9qULQvQ6uw7wQJFeFa+e3Oz4iZYAVybuAB215uc482h0wFGN3Ivq51gaVFc2j68wc6cKe8YhocA/NZylHT7nYRMOM2u6KIG7O5arLabstQoukCEijZj91Opvuo0853Y2zj612Dbqs603bo8sNqFE3/Nexsli7miot96R2rM0WSSLJsLpfzS2A52FhFDxSPlezlYeIIayyk/jSA7YlOgIiS/Ps51ft+K0o3++NCO3Aq+T1jPbqV+/ZV51OKOm05J/+BxG2EMj48zpgQP5oceM0RPqWIAJOjzQQGcewz10pMFNLrbdqAcmU2Tk5J9IU2R/lfTNigQQRXeH6LJNyO6YjV/l0BrvsTZBpPWRgX/X4CVbSGGTXTGVsPVNXhVOIxX/nU2Hw8N7qQjpkfrdHe+r0D3ST1IBfx6nRt+5I4w8AY+sxg4mHzHgbl83c751LzkFXEJtVvlhMx4Hw8l14sjumY8+6pffk1YBFrOApMAaD/Cmkl1dhUkEYbk5Tpt6Dyg8W0nlW9BwDLqXfKOHL+p+RcRTDr1iv8ZoF6JH931kbRunGCfTRmrEtor0z4mmGqH7DIXuXemLXvaoXAoNGyzZRxoeLtb5x/DApsvwZ8y/VxvDIeOnOiFNpNHlVAs1CgY/MBQqF6xgQK4RfKbOfacVw0nxyYAf0/JoaOGRboQrzhtsJ3GtzYYq05c5mv+dfGDsDOIUWlc85y1jJeXQC2Vy5mF1Vq/Ri+vNSrw0Qqk6U8JGKocU6aZjIBJg6ygfH2LQbvLGEawthsLvNlskPNE3JPVlSzQJjuBrzKRmkPvgbSu37QQcn6isbBgWkjjZln/uzaFLuXwVDFkPEUF81k6NanpdUNkLyI4dD4d+J3ahu26aER+GTYZLTEx69fDqdWEGyrc8AN0Fl/T7SzGAiwO8FCkTEITzngFe+1b3ssiAh/73onJmrhC3H0Tn0dVR/di/x/8zu98U1VTGfxGnYoqgOvljsomWkfahSEauJqisVp1ijQ91EaScvrOV/qGSvw9yQavvaO+cKOaqfhVC/iVNEInbjo6RtsxG3LEay6iIs4GxcuqqqSvTddAoeBsqHrvElSOETiDLqW7u7+OTQ7Z+13AFO/5FztqchKx04qoUBSFIupEnTGNnW0zdnm6h0YW/ZPrmAfTk7Tb5MA7c8xoz26X08ReAvh+0kpk8fqbGIe18GsoV4NftbpJAy5CsO1oYTgNbP9wYi8JWR2Zv6wHxNzSMKYtP4qLWJwogCgL6IMW3fA8elEoDM/2wpkJHXej7qSQTuvYjCIqEMeDQhRqyql+tcVTXQuWEcTqkJ8Q/AXNgZ3X/rNJWRMzpiViuDgwdaAqN9sj47BGVkU9EyPVjQ2YrULaxqN3SUGwtWCHD4un6Z5roSBz03MOeC7Q63+9G1szwNeGJDor4FEsxtpWvl84X91z6hZlmJr7wbGVm5cr+lM/Irzlg2cNMpV4mizlLd3HPbRF1bqW0iyrLHwduIzPsSSiGdROumNuUtP6X4gk+ywbOd1tS3Py/Yd3qVtZoHy18IBmZMCe0D54ot0Z9hdBDsxKTVeNIkY6DDqPdwzE0CRQ4l9iv7w1LTCVS42qhSlEdz/7aZAyiFttAFgyZt+7FACYTRKAuxXsIUWmr2lOf0R0tsIW6o3aOC14kQo/TItyV3EQc2Wiy+6YQEbC5OBTNr/TyHvFEW2oCDvjev68Mq5YjAfgFPot6owqQrlLfPG7hQPpGk8frZE9Bv3EAcIaNxdLCOLK5yO20IGO2xMY5P268x8D2DbIrftSAf7R0hQyuUCWTI2vAkufFl1jqP76icHoRcn9mmtIoRfjHEWx/cHttM63TcI4ONQyuisdGcjKmHKr33cXSK59ygnjN7MnAqxjiWlHJjICpzklof2aZxJT/2dGTVaPMnPaES0AT3TJUggZmLVV2ESGw7aB593Ww1KIfPZ7A/gXWESHfllTVEtPxHAajmTcgFxHpAcER94YinwUa8M0Ld2BdhtCX8esjfSm+yoryB1I6xMJiadBIbSW2GZ9PClPCSApIGFI0J0M79LZDhErBAynA0kXfxwTkWOp/b7NSmQ80qDaADIVnv1AlfRduxOMkbMBCL4vg4RyaoWGZVV8QaZsn5Pk2+ZAwjYvvbXxGZdMSsJ7qeGREw0/IITZhmpLbXfRNEZqkJcscBuw2TlYIREy7k40OjMnPwNk7v3r8dbpB+B0/ROUhZkYh3LdwsRs0SkwlEwDvgpFGS/YkZW6CiBiXf1oeQIeU/fW3fL1YGrDe18HAPkvH8vXWONDD0adAdUD6wNKqdoOHYxUVXNbw+UxJsriq+hyAH8TDh5JpLmur+ZILiCBqddyJqHtZNLylMH3CIXMwe4EeqsZOXeOmKAqAIoNaNx7qynAIyrBU6j7QEPYX3S3Ec9xlTZt/LEo47S/aJAuU1aS1egTkOESWmgDDEFlygmLK1nOB66ouTgP0XX2crkOkgBK2yFcIDjI54Mn5KbNt97SuUo40VTo9oPA1e3W6zMJ2NMaYoNEVpygFmOBO25mePCgM6W4Xzp705UbNqHb6OzWVLI+EIl929OYYHKg4gFb3Sc2il0jSzlEqiYdOiKSd04UEzcYtK9b7Wml4Nzi/ddAogqBtDK2JnooskSvfmdJqVaDB2OLENOcqXwlK12x6qz3ewvlUXK75EnYYgC90pq0CgW93Xi2blTLg3PJG0xrCogCMS4YJmHmKVNPAFihOZimD00gyPTC9YTO2tO1OAC2gssW0yEn3ASYOnSwA4iZSjoTQ8CVccDHWyLGDEp4m0kIQtoUnRG5ezywD5jRl97XQGraTF+F5HPZtiRZHgvpwsN8lqxW9jXqvfZVw1lzxNaAdhOcbO37DOShzqODSt0rU5jkEPBRE/x8Twty4usBaONYtZjskiRb7ojYbpOjF5D5L1zw0mqVfQ//OfqDLtvZOfrBjBm+8gTb2+BMaG21YiaabXv4zlsR9osMP9wxWubS7OCuiLf3cSif3GeZBIGvrhNTURODFJ1+XPa/4VlqqSoFt74sNSo7r9lkEoqvgFJuV8Ebc3mkyj8C1Md+EFl8+mrQcLgsfUgMpy2PozsWx+WrMFQIhtRDuZx6z+w0qqpNrc9iM8I78fffPUWm/vl14ZqEYOvieErmkCbsukH6ItAJJCWPtg6xrQSY4ysNm7WwffbSXt9GlKRq21+fKAnAuaK4uAdz95eNQO3dSsrQsHK7ZfalbsShWZhjPp1xr/sgd5vNVSKrPSRRKYyNSTtWzQUTBNryiEmtK/0shstjJUQ1GKF1dHPZ3xlvLk+tczZrajSdBdO5UPY6K9bPjjqSRU2AH9CdAhI6Mi2j4NcPDBEy3RXbcI4sSy/1NLGZls3YcAvLum+qM3QkjzJO1hsbVdYRPrHXRqsWLBpf2sOnTiDTtPnfD1U7bwo4qnwkITB1Pq552OWdE5Up9k+56agfGSZPMh0i+hIsSxVYwy3SUfWOC4sSWnnL5+ac5BZxadv0fm39fwUkxQ9na6XZfeM+v6eiSvmLybcaZ2vVubZ0rr0DsmyDEWNfxvaEP+P7TbClKbotqMfoto3GaYLVORw9wGs9Bq2WQoJZy9pj/nvak2nTJqz/zqUPqoOxj/3cakQT/lvYghte6lFQs2YPaFFZKTUFP67oVKJjYPQj83jfJsoBov/NJydVcXiP+eCW1ns6thC3cIuskA0ugq+U+bEfRzFdpA5Ct6hMvvviHduMqYqxHBvv7oUV2cck+lKvpKdQwpzHktZBHQ3mUTkhoiMLidFNyMxgRSwv8+X9fDj8Kvz6UNRU+w0kgGIH0HTzF6YqYU4/fdGbGTL0ecNB4n8DKgsFpWPgFtltG/d0/nb7/T2atZr+deB0ZdXZlg/KgNvBS4AWhKwChs6YLjMgDWwKCynMnA8juOL+aq+IsbecyIQZkqSQnLnBC15zQueOuJwHiz8OPWUBBW2mSCJAiaWsHswzSt+WNoppqAMNmG3AvtI1B6vvW1Jr6q1ONxsqlhMr9mh97rRjkn52cgtjXfUteI8vtj2vSJFQjhp16Lfy3QSIT1nYLQJxvQuYOheT5GNoSgtVqwQ2j73z+Kr9dR3+ECqJt1obv9oMM5AWi15ZXSDaqT59Q+GpO8GHkxR4SA36oXaMxvodwN+a/qBVjh1iSj15FK3PI5r6M9rrM9JEsq1fZ88FNICZ+msSF39rJ1OMFisEwc/a9Bjny9pU0cs9BYwTonrO2Q2geDCif4mNuu/3r9wspqYnLpfBeKbQYQAaJYx4xk/45z/qe74sisscx35RD77/jWoEp4hb5ZY2hkyHF31iEaBvveY0q/qg9wkMPmyIOwjGxtpBgm9XZxM9b5OG/LShgBSQ6Pwb+zv+yEE1zE3anHcd4a97aVMexFB6eIk52JdKTo4nb17nLXWiRNvW1uy5r7Cr72linTYUwejxqxD48LnFzcuWqPAfPaVfaL03Gx2IZtjwd4dAAi66iAGpUmCB1ULrBmZ5RpQ56YM52EY7kLBuuhHfPzEOQIrGV+WucRFBE5+MsxCX7G5Zf15QbrpqJaaSZ8BL4npOCxQwpLAehETiF3Y9aRGSkxZ/NrJW2n4382D/IbJ1WwekdyG0zaQUoRcLUMSiMo52nb4Q/6hg0D+gFVklj7nLITrQRce9e+9/YacafF3dgNja2eCdTpxcxISAXwAi6IpgcugQMu/aQRgkHR7KImB1b4iyj2MZxfgMW91w8R4tkA1RWJfNhnON8odUpb7a25emeHNI+GY6MRxOUB/xbNJBpRWRo3g6qEaA4jHQivhDLhzT6DbxK5vuWWQFzE3xiimpOJnbVcyqdjiDOUmy3jrMbWzHnE2zfPe6oR32uAa6jCS1t6k063CS+I+d+LcofXnLdRw7nXZip2VVo4EQ+mY1Qzgz9b/IgDlUkYhPZigtjBzfl+d51wCgtK4gLPBJMBLaXg4ND4uvzjmPxbJNRXWmWsge1etwzfXlWESuBGxtHiubYEQs3EWdZxj1J1+o0LgmzhS0P0twxQ/Peb0PcUv6AiOhElIvbBVcXec948GQtBMZan/UZ1pnyUnq1U7zg/m67KnTdzKRhaB+CAzjskEcQb9xyDpj+WCxfegYPU7r1sEpdJooeuUgIMS+EO3p2uoM/W0dRq+258qDEhRbeiSUpS1PQ6eg2tyBM5SB6qkeTABsJJDoDz1WTeNQF7Vv4N0WLA5V0qQOdJpQwJFJ3/jS6+PRDL9ERdJG5dlE5QVTcjW8JQOb1zsOYvl1Gmp2JiDa6f+ft/vrTthEPGoImuFuhFwa1/dsHyKQvNnmnZwT3QiJ0N/YB8AfR5tasoypz/JoKOHHOuFaDqNGBgziAipiCCHfWGPxCwu++Djjl1Bva0lUGoQLeBcUPdPI+TF1qQuXpALW45pqdIHIcrxAxeVx6dOs7WqKSgakNC0770SxNglA27rebVViGqUndceXr6/SUrUD8HD9hiakepg/hwAS+zlubpxc84sQuj92qyHHlo+0vXVSGC+xKJiC087tCz98W872JnOHY9v6BLODfgAyAYbTIN2PUxkdetK9QlfDrGQtJYaaKAwBZ2FGoLEppy3rstYEm9DNZD9m3D/SfrlslpKxmWdo1BWDEkYIdFnbIPWq8tjIOohGTZ7fNTe36b0L4lwv/EsOiytuviI/o5yk0+pXp7wVsG6dra86ApT0tQE2Pg47VBRRGcaxB5DiM5R4g/C4KLhtvCgoLyRjjsH2SHafu0uGC/z9hK/K9rh9YfSeUgM1XbAfLgZoObDyoJtvZrPKAk3gRv4spRzmJLwC3toU61hi4wDCo6kjvFn7ldDCluIvtQIOcIKs1RK6OYrBlXgv/+9hr43bEnnsHretlVGqvw4jCv6y3QPIZiAqk4X/PGbu+YG9KyM0Ig6EuYw/65cKXn7k8GlX2y3iuhPwnkcYQQXM24AhviL6FpLRrz54PBlAX4+/47sm3VmqmAO1JbS2XlH3adiLhrZfuIVg+fdGJ/iOuvuQQCfJFcEUcSY7sbQC/F7E0Ys8SqalwIJvR3LreWaS95FDn7MRWi/Xlbei+F2210ilv1BK5IUypvC15qUErkBTbqmafanTGDpZ9Ky4Xz1svracFvdEpRwB1FD0arN+m5ouiC+wcRbIzwE1Sx+EKBkoTGSvkys1GpnoKOjD2ZhhX1GfMyW+y2gTcepBIghqOw3o3vLFp85u9dgp/zXKLPDDa0gHtvW3fArXwAVQuJD9VF/Qg5cnlhl+Ep9nvCRAw1TN49rBDHGuGsiwAfWjO2LBRqw+gFPyN7mY6rUf9BtwKI91CGEt3RWFlUR8SonfTis6k+UiAeFh/BgJbGI1jHM9SBCasafzIZcSlimpTb7nreHyJFuymKFq/m2PcBGOsRxVr/qxvMp6FMnB4j308CkwdYoJ2I5swarcfL6aBvkz9YDT+LcsmKUAsRhXtfXfX26ouB01OJBoxIuTrLS7dT1jl5C/JaFuLJlHmyfUMhdhxRqYx6M3m+UCAr+CuuRhYB6LrjRPA89uHfg6QngokgrHefDEBpz3ZswBthxzxIpIS/i0vibcMX1NK4yaksZ3hATV9eaRurlLIt4Hbzw9Dil6g/ATnHGsxbimulASgoDa+vL3+8cB5Yk6sWUwjlcO/B/pBmKxitFH3p0w6mt4b/IAH5oOUIgZm1MU8J47i6APSVge4QeSP1HZSoYu/3VkqppNIu4vwGPw+B47EQ8yyaYB7DtM22aBx3LpDwBJpfP+HPlyvo593gpkSUhUMCs5UYUoqmDPc/GwLNo90nz3rnb0fQJyaovsVnL0sN8K+LlmbX6RjgX0wZ/ZT2AYcY3ZlbL+K6wAWFdNASmwD7/UCGbww0kgNEntKM8DTARM3yMxuk54x7xWiGEcUSXFIpp1s0CG1HiDE1piiD7ZbHKi+uF0G8nwTwisbxXnUJ/uz/Iy15qjSNq+VCXL3nbThkesnh7SxvnU9mNxBz/Hlmn8skY0udvh75CKnsvkBXYMUSdak2FV6VvJd+Vk2Fp0q/anqKShmEPySZL9wMWo25mkdrP5xTwFPYIVz8qCT6mfN/CfGfrW1qCPIcMv9MqsCsF0o4OX7m16tgHkBhGRNzYtNvTjz9LgcniBGLO+uqAwlJm/qirjREfsgEIk7RoPjIH9DTq2ZOz/xrTNE5waB2sxtjf6Z7CuffqAazyPhnN6vn0zMGI+pFfA9X3GnPzgphT6Q3tIC9gZn77FFKZv7csffSpuosTHWyOFeUieYYiAYSOoeA+VHqoupG28MK/NiGSRvX7aTzbYwCL4C/ZzZBsWeCexCyX82kbwJXtdneO8Ps0PvRJ+qLwl5i7k7+zmXjsrLHrn9hxtPDw0isL3gRNImYDctI/SwBJyJa0xSUruT1B5N/Can3rNYuwl7g793ZOpdzQjMIpfoi8gddsNouH2QmyQjv1IaUPxufB9F+tSmfQW8zBVpC6RXgF0D8zZ7FM+SloMhpPl2voWFmpeExBJBqodyKTpUQM/3xOG7t0i+2upu18YZalDRQ0k4LPBogTyEFyK0L9yPioZ8TAbAAr+LRXvIXg2GLpOBxbcr0tjRs2oLDe3vWvTugjkVhkG77rRTfonTgfKw8qTjEh1AvcEebQwxobNyrjSb8QxhqvWLivixngUFPWvpBlsxxPdIfrk7WbqTZFH9UQJKiP/Z7cMYVsSk8qD4+8R1bqGR6O4JGM6NeI5jWHyzohvNq+9DG2xOBXkAdGBW4Lg+uP+mX9KnuL9NzLq26uOUTcVAdViNgkHajs19/K87mD1XgZFbB9qrhQvVlXyV1tSFziTMk3MJGFWw8rYcM3f6fpfI78H7/EbuLa5hnYuRn5N34opUsE+7nnR17Clsl0VDZz7ivUk9BkaYmTBiJQmZNQMqyjT+dJfi36SLjVTR5IXXvVBzLYSB1MR715zjVRji0EzZ72qeZoR8MpD24E9+IDWunb9PfuAhOb7x9RYEY9jqawk0nH4P3wDqIrOKMDlPZuqgNvxvyzRVXP/Z2phLR+NRjNWVZStaWhHLa+jnxNKJXpIQPs95RKB2CcjOhsXXqJxWynplk8rt3RKzKu3vF0naYnDrOGmaNOL899Wba2N3TpOtIgt7Qgt5vvz/40KCN2Ux13ujE9HVm7H8OWctWFKc4BLVBM2h8rjYsNX5aNkasazaUSWoLw4CDRbOFlKRwARJsJdVaf8/7d9TOaoSJqkbh4uiJxwXMlxqzGKQ8Sw/bEIrTFjPLCne4thOOk1OIXCTS1VVyKq4r1eHo+WAFMpDuoRtmRcGxQriFoF63SHdQ/jCfSuf1VIPLU3RqS2zAB7oRXItK6tjsEc6Ri4mbT2ECjd87qcSs4P0DwkphvBvszWY9q0afpZjFyBUN3x9aN9+a3Ms4mjuSIMEM5covIwFACOmvtwm4tlBFctW/KVt74O4NkkKrJbLq1VCY+t0/wPnOPT98UAa+d2EgMwY5AB4FFa2iRHjl4iRGPDt9OnIml0+D9k48bhfYzhfTbw9kidzYmxrDfJZds3CHghIqx5kvhCwkEeLsyV2tRSRNUz/9zQLq8B4y+y0P6loWf1QlGPjWgr20SDxifYqEDVPeyqP9tpd4UJMnKyALvh5IquDFi/C3nfrkuvJXLkFjnIBxmPLWDGpX5e8jtF/3GDfI4wQK8acfQVpQABg3cJlg2+FnrifAqapJcEays6a2rzhME0+ZfZ3wDWP7WNAmvvM71NszMxoIQWGIej0K4IFYoBS2izk+xL2GySEKly8YOvQG4Rh1d2YPuOVyhnrH6WBRnq8gru+F7ZJN1KZ2cyavYCcedTIOJYiLEIVK+T46A05y2PGorL2SGfQ92bs+hNIK1afUZJIoPFPE87azJesqxM1M+9JTibPAq3+yv8a8/UUIhSg7ftTDcpgkYBx1UYeLBRFqYNcnSPvi2fOHiobp4EjDZD/h0fbvaREU9TCZ6dFuyXKwtGeBV/aGdggSRiOmWx9322XhsbsnuplYJsmzvWvkKTpLsNImcGtbhWniTtcGrSXfyG/lJbX4TEqY1dggIBcCwGRlPKB30Uc+L73aoeEVd0Hi/dfZ85nrAF0cY5MogHgkxKocTueRytilIVYPxlkUypdxIo7Lgl2c8r2LifpQATQdQMj6RlfOyH0R/njhax4vIE4CM8JMOUC5G2aXoq/a93KVDpdOHh9BDNmxyFM5/CX/UXQ+CHaSIE38EHrnUyg7FR8/uViP7US8mt7Gq/0PcIlPUfzjzV7qX2XqqboAq4SRT74H5arV1WNDle/KxlIV9P3ldKrxLlPlGCFieMot74XUtP/pGXaGbyDuh6MThFCpGym8wU5an7lrHnN+NTRI6Q/PASMc48ggNykov0sQ+AbsvxaDbFURKX3CneTYVmoI6AQU4+fekBBNwSJljcpSR3nYLtOB6QOI4hMHPVs3C5Bk+SgHLuND4S2TXaBP0rU+0PWuyX1ptdpRBjFoiK4RzaWKATWxWQLJJKdHxM2y5frpDkGW05J2sqbgdR/llUJ4Foexo1OC1HKloZUd13KlTHveZrHC5Fi3djNetdv+qfHOKNzA1ySB7GrHCwpWvyq1w+dMND5ope0LYUJK87QtBgidodwJIHXn5onwAvuLUnpjUqV6IBgS4Toy9FMw/EEy4l+1vS7BOEZlmztraXN5nQ4ot53Y76kXYWub+m775RkBN41Hb4VaYU9LjCC+7HICvhQmYFICHKueiwnsW959LlFUPIYBrmcwkUT8ZjE3BepSqm5XpH44oQnaO+1TMKvTk2C8n2hqPgqBjtQLisiKv+jTO17WsZvWml2S9WGg1LcwdNbSIGkcSmD01hgzdWWWevC+sKNQzsyT6EOxOstsY0a9XgxDKGgAkgECY6mWzlTIKjx9IOgQTjhZS1TV2L8FSSyVKzoBlsQX1ii0xzxB3ZuQ/NNem7kHplhUHDwgmVcYI3S5qzt1lE4nOJBDa6JaJKqdFu+sGfKNMCHzWx1tFDm++Bsg8Ykszzpffew/pEl1YllCWVH+ir63ZDY8Cyy66G4qZpoO76xrs/fnN9M83pDMu0baoZG52Y9ul1A6rGWBHbaloJ8GRvhFXm9S0yaVhw8YMBhBYUi5Y8k+X1fQKkElTjYlKMkj61VO6cOVk4ySfSMNm0YUPtwLn72h7eX9cbpUsUBhORTmuMx5e9rDihmXlZ34jLv08pNduYihUgFD7pSpZnn5BCRoyRBR10YCWFhPCn0Mxd0LxFDSqYBJz5B3JJfFa3fxOvZwaFBuX/eUbaG/89Mzl2c5pf8AaWIQeitDdC+8uHzoRCqQK0YZECwgFsxE2uScLRM1rAsErQ+Ewdfu5ypy/PzhUOR3YruItfETvDvN5Fn20JnspqkBQe6cZZr3Z0xbjYDdrui54R9CthIcua/34Jiq0TCnmDGy5voQGON6NqfvYJVfaatpIf+r5/LrrAMRwSfdai2LDWEKeyzAtwyTz93sxfG/tdaLvuDy5sDEOHoQe6pYkeQpIoCSItIN2DhP963UFgw4Y6zhk/O6PiqYBTUheNiWliZa2ViguYSS3I/W2fqAY2Z9JEopl2lPLTLt4HqDKijgDT6o3U0T5KK2DFtrrmf5wZDAmFpYdted6AA3aDoZjAT/ZjyxmyfqeSpM6VDcXsqEavN2Tgufm/HGKHiBRED8SOtrr8gqx3phIW7SXf3eNDzlGMMIrrkpCZn03yV1G/dzB987LIIQ0WQr85s0Co46zrZhHFnb98lKvGPsh9aQvlS0ToDrcx/MFnpN5MGanI1cX8AS+se/B06BLIaiwpLAOdLEf6PQJv2zvpuFMBtJY7Sld+97H5r8JtzbKF+NEIMSq6hqp8IsqZRxlG3jZPJrj3xtGq3/9+QhsTvTMZugB91cmLNMms7OUB5/RDeddW4Hr/+fUKlw60rSrpJy4OfoZsndne+2bB9d5pTKgmfI3SNe5MQyOPDvR+atpHV/BZ5nJKtiR23ta57cOXFagEEpHgOjU/q4vWf1VkOekkouaZxoabRCSDeOiFje31+UlwPmxjCS6cAoFaxpiE9X/ep8BRgqgISOAg3WHC2CefNiPnB9BglvCJK26LXahP2Qzsri+ZqWXCtP8+ANBtH18A/tM5h3E3Y2QJLFHKN2HguCNMQyjhg25cEA/GgY11NuijzquO42UTx5qIvD75xovpv2+stAMi9Q9I6titAAlzFcMH6Mo82DjUGlADOwnpUIJt9i0BMRE1b0IgbgU1nteo9jBDwh8mptSFmM2IDGyLXyylYQk3qAHQxdDA1hR3JL3bK3TDi3UKoelW+WIk40w/1WMRQOvyklwwYBJpBw3XIg0B8QmRmjBKlXl9eNh+zgzJcJRxvZ6afZsazDogD/g2GkB1eOoQWvpUo7/iOGtaOf/ythpcwx7EOyvjDwpje/QdqUBUbis1ieX9kDG4wSNT7h1QK0I4Da71PzCtolEdsPoRXa5VhxzqSgiMw6+WJW8lpLTmoF9jcjIIFUEpj/GYGkU7Q51z/ImD/NkNnSrcOt6lP7Np4uuRieB5oTmONut0y74JNGVEK0XXbp6ERi2ErFa/dilY76kGNFwNMeA06zfAoihfO72WfXNVYNLxBC3pONmtfKoqcRA8bXrnOSvOWvXVrJgI/e/EkY4KImxzZHomR+QKfd3K4y306297g5BrDTvym1dRFLv5NK+0IZTVmfHNUVVKO298nVb/yEqQqBPcqIXNvwauCd6WVWQ6TvEA4Xp4vXZReuawxhKxMRXsVueBEhjatW1Ghb1Y+4X0Gt1x5z9NWGQXk2NMM0+7v2QNlplydzn8JNal5RsropYex9vZOWeljSYfc6lYIfmH0oknTf4mJZqvngmcXZrt1BaRK/XjzeueVAKdT65LxtMJFtXL/CTiO3nPikCHVLkLOZr3B6EO/tg5xNxkePGrzARU6bC2y6pdJKFNnQwRwWQBzjOHYBn+wyQcuN+kHs8bFKhRG5Pfh62rIM4GP0vFx1aSL/RaqCwgTv9Y/uOutVV90Nh58M2MgDpiS4KH2aiB3WS/KqHE+igOxILGJFZ4Sokuql3ikFMCxWGEhm2Qe/3Xo9RpW2Dc+oYLuVZ2PE8GnweIAz+Bt+MKH2z0+38NzGc/TuO/IAQG0hJHillqFcBvpYKNYi/yblC8wFwh2T569Qki7YNwjeAcun9V6YVYZJgmb5UO0XYK9kEjRrTdY4Q+HiQud6HdbMsU/10uvm13kGa+KZFD+wfrSyf6M4QRhGMYtEGovaL9wR8jPfX6pIOOuDN1I6yonkGGEM/kZOdYKECOhMMrbM1I2hUnex92QJjZOo0a/RcZid2SzM1p+QDUHq5o0iAnYdkiBDWJVMBCfTi/V6Q6q4WMLqMs4+OdZwPLeo+rxV0lySX9tlK70IpqfWehk7yuXlofltVevCEBuQp70gHH88i3BWaEC/z0i6oJyv8LB+8BGDoXMJSNbX/CjUFPwFGjMi9piSL6GOSKQAFDg56CHYe++74+1e52U6reCttBdGWQfpC8KTWuBUL90GmHLZ1rHsDpbM6LS54PcXtCr7sCg+Rmoo1AabGurjYrk5pGfoJAFxSXyU2Tl+yMmn8a/WMhEcYx0U4NeW2Z2Qk9IGknW7z9/9vpzCVtWVPglSfZLRHRwESAmnRNFGogEMB2UBUndl0b1DMpo23iqVn+lQ0chB0i9Df078m/Qe5zy/OT9UZcRli1mhidoE8Ky+jbZkkrewekiMUNiLJM6ujZnEgxr+JAdGLObq3nVNCgP1j5xAH7tV12T7HcKf+pGI+TM5AaVhwFMwaVkyUbUsp5FQuXRHrrHQP6/KWTrch4VC/t5TlYY8+KAy9Vae1ikoZS1WGt/dGcur/vuD53EDB5zPfH6cBo3ZSDtuxpracf9S/k34H/Ik7BOypSmLQhF3XKOygehbYgj01JDxUWU/QcUPIRDoeCkfq9t7nmSWeX2HcYw1x1IAW+RBEdlHI1e7Aayqrn5Sq0V4dWdZepNoqaIsXvtps+E8QaTWnxHtp0XW8L7wjxrAREFaB7+AxSYkSb+GmjtDNaymR3YOkYn5GS68ukYjmG+BdVB0u+/zDANbigwlQIBPF0rmfgJbFwlg32zR6V26IfmbHKdff7drd0P7FLgKYf+XFJcI4vnjksgh2j9bIAAWszYgu/ZjV6q3Tw1ojPqmiw5x5hfiSHm4o4vR6GNrKBRXbPzrAV5/LKE5rwOHhF3QFVVrpmuGWDamtTlB+ii9ej+5zejxvtdn/RYeiIP6OOaL/Y3/owyd/O4B8rTX34f3UKZm53G6pRXIlHAu2PX+S8D3hpP7f5HdQisXJUt14kRxy3ks6p8cPeFPHL4Sxu9k4DOOx612IuEYEUOFiMtDkvHu513mm5w+ZVqvIG8txdSGip0RgUK3DL8ibpBcOm6BEqZkrvA4M0T5ROYDm9zlbi4uqK+PKvECAwnfvWyQdVnigZNqAY0usKdlkPhkkL+zXhgOEelCYSeEho5thA3kwCgbFqi49YSQGTc4tJQs+j/RxBNIZkK06Uz+E8oepF0rj+qa9cMG57hFf1Y6z+mrWLJqEetJ1aXV/rp4z/5CFBUEhjDQiA4cTLw9Qyd5vEFrpvdnratR2iC+3XAeDOLWxVpH99YbD40H9pD5dX2JPVTs8Wjbob6VAsaq2bL5LSFTwmLjmxkifoARqRvFiCFK23isGwjsdWVcNBmSpSlXExRYT9Uquw4NrSxGDFe5vO5QfUz4//MZYo45McTUaYBQY/vy+7fooe/gCfIywyUtmv8sl/zD8014oj95kaqKI/dC4rfywjbtmVKybIKRv7z8aipuSz5+1WjCBQDXzxMzuDc1ZJ9uOI05sq/6DoA4jQv1Ewjp3V/ZJ5Qj2PYOENql5wZYl5d0bK0A9/+CrK18nV53NeqUmurRwHgbJVLhAZBgTFNwdxikGo5K4uFBPXs4qRYk4/BDIY/E17SDTeKX814rPwolcVVqYvrfEJElDSvSNOxFtZD28bYHIdu7cs0+cP1x63t3y5GVIVDeHefrKLVxoPSgKs+iNxBRp0makwNrr+VWht5HEdcHQF35nadFMAI7cNDZ7WR/KCZ9AqtUjiC2CCifnXyiRoY8w7Ln5N51KtshxCpv7FckbM6t5Y8lbzhk6mcIALLPdbxVvZhhGObAmRS2Gp1Sr9YrFycsLmsMM52sdObEnuGAgRjbAAlCIA1U88As8Dy1Zzu+8dsc1gy4J/fqVPXi9H9UWG84K7bNwG4qMjUX6Gs2/zEPvQQHDmYzRJnvoxmW3KAOjRtGfu44xtgIGwxU6ZTw45+XXatjwpRt7nELq/kwo/ekevNrMns7igAEvJZztlX3xslloaGo5nKDAlB7UpIRlH4cpzACuPryJSnuqX5FP0JhBWsSbgvqR5u4P7pWGm2sivA5QClvAqlOQ8YOJPXr0pMt7FsbmkDS63HEDmRn8aYubOGdCstzH3Wa3VNJRy1pxk7swOVmrLM31yumYVxuPX0VmZOQAA0hBVEf7DjbylxmRWAZUuYZARxWcFKRDLQNZ5AxKhQizzreWqFBg/xGaNvSl+FtlcsrtZEKgfEGVv3yUg8l86BcZXGcVIWTJP/g0Jhdx2MsF0rjptUTOx9hWXaazBJcN9hHQzAVYZGB1JD0AYtfzuqBa8RX6tto2A+3wdwhpINRXw+2Pa/0N/VJZA0tUyE4IapeAz9HHBpdWxPkN8/DojzM6ck5ShtSsYjhn2p1Aq3dhVyFKhHxTlFZFkJDUkuydwxvBzMPFmFnsRURu98hg0gf25by6YL6aAq6HFCVDogSL/QCRu7gPv7+wCI9wzmbrBXyQx1nki286DrPo4tHQYv9kcsVncEEVjt9iNzyJ99Xw7OSomI0+ALb4vcPtuXi8XQ+DeCPjG3iGur3SZmeWpR2XEml+OlYIsfTfqgiFw62iTWC87x2xK3CvmubWSlfO+J86HE/zCk4xOdhloeNru7aXI1Fa2K49Twt4tcbKvXMwUNMQt/T2dY0uW0WfwHGAZVK0lZT10fyVE7mdY+lMbAGcGV4Ytr47ihAI56erJqH/u37C7iKPyx540rCXbn11YkGbclYyHzngWxNywX/Mn/9piMRHUNrVeXVtItDt6VyA5lWGeOKKYs8Uou7/C3tYn727j6MZWQMKkeWUlP5+LEYAjp2xYXnUmsJdxFH7zv6epiG4YqrPT5jy7+NC3p+xPbHisD8ChR+eGpkDM2d4c8R6GsgxNbPy0GAT06MxL6fF7zA7jFtVJ0uZbeBYMDvXQwW+g9uOkWJpfgQVMoNbsiivxZ0RnbniU2qdW2U9hVzKL2Q/HnBvL8wSrfrcKTwsFxAYfUIjTYPHIwqIFyE1YgQL+wa+HwanqWEsUtSo2aowfqXfvBiyVFWwQgciEVyDyWHz6qLHb1R190+iGGYpuROIyqilI8t48uheUrJ2OjsRvO0/wXxha9iVsodsppvMZpQuPp/5/0bh1AZHLZVuLSW7m/GHEcIhca+SwGFLbqwAMpPD+s0D3cJCuMT1YNxHYpsBBLFUuvcEMQNL99g3IiYJ5m2CHcBNSzXcpF1QIaf+WKqZD6yfspU0oCQCxFG3Bqmt0CXwzaPtJCnuVtrQtA3/o6K0MPwml4IuD+jr5EFLS3ChmVMXvhuGKBaaj2mU4Il9Kds2aPKpH3WCDikWkZ/qYyOeiwZmnUvFvJG56FeP0kceIs3g5zzcoGCkezhXf4WxGPI3KYE3k+4ujl0xP8M/KMXrDJQdNRcbSJA4xpqMzHkeivNS8eB8mzthjPBEOtoPEanY5WS5mrgR9mpkit7EDKhFXpp+WrcwQXHLO20mZeVrZIPzWqeAQoWsYKepEQl7uOLaIqhifNuJOLkwCu0kpHwsQ6IcFZ8WLbacQ5J+7lAWWw+YmSZ58QhLz165mYSJS2TPBbhrzl1WaDWsSL01TGm06sykI9DWXHYEucqvWvyxNSNHrtAWlXzD3hRHpbL7CEVHqOcjUOvYwXQ7m0CrV/lBrS67XYl+GaiVeZt/gKKvgfa0mCxgj/S69K8UoIAKWIbhGxFyPFXW3HI0lRv7MS7UP4Ny4IHVy/IT3wp6Fyl4FhZyVPbhC6dgVbf5LErrQ2mMYwf+vDmrNWmewxyui6O4TOywGpXtu5mHEMCsuagbSdbU+DKKxzIi1MBhk8oIYL7ht30UhqUPVbiJ/h79wo1znpTAZ/uegynBWvBKD98S31lzXmoS3WXKmgbd3ZHXQpbRenckdgmvH3gLfBJ8PO46UnvaL2FlELDavTPv2jyKvvFZEYWd36vnSjsIk5rYH+9411kPcKQvmDpxF7szxEl5yCX+NuOBGvTjvV9LgFp69ZbpxmCtg262OJZUZ3YfdJXOrdH5sevJTbsResWm2vK9VcVhaRtvsKn2bjs+u8xBffY01hqrIDQIn2BrsvKOdQtCx+Yfjl6vZeYP+pbq65iQF67/q02ibJQFXKPEXS7aougdOJnfHlkTn0KehuZ+wVfVa6Hffe31KUtJlopE2iiXOmSdw/K2i4oOEMqfOq3eSnzcmZTTkDmJTB/LmwxuxoNyPjrhTLMGDFxxAi8Ok7Ss3oUnHiF9UeVjpT6mGlFa6TjHTl+OQay8b0nWMlsokSZ1Ur7a9NvKlzE0DSx2iwA1luhSzwr9FChEfVZQbJZPuKpV6Lw+7+vKLVQ744H0C0Sv0o44uCFEkP09Q8P3muamSLtP/t+6b2dH7wnvL3fk0JrfmhDtgHXNoVxxcqdxS5ORzmIvKx0uZiW8YaJCaabh29WD89qXPYDefCQKQS+g6Iu75SdVNXwsW55KE1JMCJUjNNBf1j8t6Tqb89svBqZdxw34Sx72OES/AMBfbX9q3fcg4kdJVugxQWMTHctXJGvrhDvE4WwIBX1g0W+hsNS1PqTFklJc7+tzBMHagkiyZVo6rmdxC0fsWRjmp2gUyRkQdCOJSV2cYUhNvXGnIwsxxT9//lPdZxkQj4NjhR5mWWx9zwwQtQr6KADjRESLqWGysKdoWJMUbi9fQgfHk7qQpRjDxnEGhA7Nl9DRjQQfGfw2SfnnrigL7Sn9Vl/Ux1AkAPE/0NO+eFMc8hCTxn3b4dsuObty5K1SKFI9TTaTefvh39NAtvqZA3LUKVVl7a3dEVtAuCtJc3Bt2jFMRGvS9LlnduMsdQyINq7x1bZ5zrW9Z4YRBeW9WzAfhJF9Y5E7TKKtXsTvyqmKgseVcT3UIbDpb/PBKeyU+nFXXdbZBwFqIqm9uO3jYmpM5xdqRTIK+2Ni6llsVbeJ/J3zvB8z9B8XITaax4mQu4/MpXTA79Yh9zyQRtzbq621StmM8MKCLYGvIY1e4VotR3bgblbli2loXQHdOsobF4IumCPgLnau6uDp0v5dB8E/yEG8G/a+HtcFNS/XyOipGZdaQH33WmCRg+3td0bmMUbfoqxZNgnDKh0GQkTGIUP3phsAe6mYBjp69Keu/GJqreuC4RupKNwrK/mW8gWsAmRMfFw/jwWh1RxezgxM7+mKeL7pU7v4ziFtLqYBcq3ljoMuAYmlXUxFvl4WkCWg7TdNdjsHaMRJh7By2Hai/u3TYcVqpQLIUxs32V1cYPpqY9dBs4bXC40ZrOwzagywdllnxQ/SZqGSvSgy2Q4ffCegUMcJc3jQDfcWeAvFovahRFOkBsam98nQx7llM7H6RTzAbH9f82JFcwwG++fIjoMSUNRx3BHXjLyIwm/VtmAISoY6lG26GLq/l+iUfMRg1dg826My/iq9KjQuhTbTnfHymDoZTQS4qi+5DuEUTyHKFZNMK3YNgVgBfyIUpFr42urFIXBDHuOhRDlR5WjovxfjVIwZDKoFPz0y8wU6F6VY6UjMPTm/32XeN9zlhAkBwNkltw0HENccLFRtEzZAFRmwJWnm5V7zADOoWIAhVariRb/CsEL5gWcYwEZg1q1S/u6IAD545sZ9TFBmp+V0a0OOpD3RUmzJA4a3VEVXBmvS6xs+yQLt6NYAw1odtJGDfOyiCg8ua3zf8GqAZLhMNphj098YPhyQJyWlleNgfVfacl+t8cEfeTw+Vk7E1mIPUhhxsVIzE/zAPo80geQO8DLJquRIxaKnOFKsUEpaTBnz0R3mg/+4tzUX21bmOMPMtZglTnx9EOHSAbOfPELLZMpUqcl5DG+NRAXpz34G4gNbVg8Zp4d7gu+d13cBkaN1sFFj0aj92uh3NMYsYzEweJtR7wDk55QnKT2DEU4TTSTbZbPR9qRc1hko2BGWzRcu6Xn4fAVvER5i4HfqIXEXh5vcrkc14zvWtE+syMhkCODLM8y+IZS7A99A3xuNNlKG4gq6UZCJTKQmjxWiaXNycIaBwe0Uj5O9NSpmuTw6QO0SbxDed7Yguj/wDHyqJ74GrQLXHQCVfNLNo6OoLEOTXAgMuEKmZr3o+tYZhqx5hacX4yV3FV0Xf0Yxx2GEvnFQBWSe77QviJyaJv3CxfPY1rP8tOovFd2BzzEWehfz5ATCOh3siekB+g4oN89Tw0PM/Y16PwiA7+x29rHzkWAHVy7NVgiMOYKFnxV/Yw5BVvocBIeHMi/TuM2npXNlqeziwxxHEalm5B5ESwMxq/OMNFfJBETPQ32Z2xV4OYfn6iV5A1iGJiy3vsZ0bWgiSuJlF5WvveC3R9/CNFpJv36SSGm6ybX0CmJeuL68HeAqJhLBsKc0TaruThZM4WpuS8Nb3Gkr0GjBITCqCYGinp2gQ7bBzDqD0bvyxK5CKQ3JZs5DZorqCax6niZJ9S4BTv2dIlgckw/jl4tmCyl9wY7ZN9h+0MFIs4IrneN8W5O3K2ofBOrvaNgLuzVQtvepgj99osK/q/987HcapXLfL0kjjseog1jzeJsFM0/pa2h1bWe55YVwidKFU6+3bYLEK+8oHOFSRWIQaEPae6Lnrm/QD04MxSlkAx3mj/K0QgfPS9js41ZtaMgsY6DbL2VQOQ+2tkJy5aG2y2ZKG+eXF5L+6JBNUgoxIsUn5rgw9c7UgwJ09lGFvTppJ6A61U01eqggNtbOQVoANQKFYSrk9p/tGSJcQM4+/bbKEM9rz85IYSaSLjPVMbx7Swye66YUUHjuheNVpRNlbln7kHc9qF5dtPDNEyUGvH4xm0EJjVgiY57hWjWdS3TA/kM6KF1Zmh/pnLqoxg3A7LO9SPYA9ElD6LCBjMEOV8wceK3T35U8xkyt0nv8Uh/PpFQgmUdDMateADaXLe4lIrqxjZxIYu23RRNl5D20itj2++Szx7kWIB1h/dm9C/UsauYdC+c5N2SJGNF39i3I0CEdaeyrZ90WFawiXo5a+CrkQPxIAPZRHIvuBRwgfGw/UlwcxRI9tl7zJZKnxrQCqaV0g5AuYFc2CHswA545TBbm8pEkH8rKKuXa9ChD3H7UIS/2qBaLpByAGgO6dwlwisSGW6yxEXGzj8xdwZrfDU6DmoRmKvnn2jG/QJ8Bb+JBB18AkM7QWcZdDsszlp70z3izP4RrPj6reSPGcmRxIYuHjLy+5ht+S2NMtZmqxC3KpRC6dK03opp61It3iM0f/6DeX3uYx+gnu0/vBYoxKr6x7hxhPX9XftEqLyLsVd6j+5HSdYoAdZieG6QBsxa2BfeYRi5ICvolbcMXWcBpy1i27zp1ZdaofMdpttwMXJOlZbtKHox1BC15Y/ysaqYW7qar46mxloFaKhXpoNNDUa0YvDmHKWPRfqSPXra2SwZBdV89cCyuqVnMN/MDSexMEFALxOmvAD3kuurhRTEnAj+XUWJFal2Vm4/9qS73Vu7JkdhBOvV3euzPaAAKKOBMJmZ10hlSF/RsSbr+0rRSZwk5N9HFzgdwA/gJdKEpg9FmZNT6p4teCFhoVQ3/SUfDEx6WGnzFlb2naair5z37RCs4Cet3IcGRmquk4cMDtaQwIB9KLcT+DQdtHZXlKeQBi8drRZUy8Po64H6DoApK9ls9dFHG8kYyv1TAJ1P8KX06GkXl9ciXG+qqvt6D7M0JdVyKz4CDZLCJPav0r8MnUoZPPaDzdTmrhVw0yVZh5kS/slwHtuZlOn0B2ACVRKa234GCLYSroykpHLLS6P7hsoJxtdkJQxeYU9GVx7CigHA+4Ax8+RRAnR1dskDY4EqMJULur5sfcyBo4i0reMHuD2KoENEFpXeofyM1EqCxaf75RPUVHniiUNiZNhy6EZAvB0M1pThPCP2sFGNJFf6+9cFP4zxhHA40/I4l0zh+miFNUBhmrDUQhHMh5KQPxbLPbGCzcFaNmKKlsG0tnVw1JEFxnDnmyHBYIivvwv9VS/lkvoIrNq0+FYYHB6/eVIAzQyGf89UiNTv0Kf9IzLluFzQlwB9Jrey0cSWMVATgyCUHFp6oE1dxlCidJqdppTVM3Bll6mO+zxWJtJ1/itoa80wiiMWskvvdvr/9SmoTlkm2nYONZFDgwCyMwoOYuOF6uKZ3qyV3HrB+gX3HT7Lp+8fn5i53LvMQtD1XM1A6QcvP09FKOE6U0DrqWD9VmU96DkfexSc6lGX25qqjdjlHtv5kQ6XURSAf3Uo7QBrz2VsVRs+Io5v7O6DoLcXmBW1qOvkC2stvoOcRFQ5zJkkeFOCb/9OBXxtkh8hX+tVb4d1noHpFZzbZn1e4UwnYpIZtkSBvEqa/d+olResn5J/q6tiWIwy42+xLeAw2Fyjb2Qs71NIzCEcUhc+8jWeWh5SftV9VSYojfIDvLj22vHFA+yJm67aIApakR9ONuhI6/gQ56Uey/ZoJCSLQaUFB0IYe7zi31wsZWVGNVs0ILbxo8wMsFs7vFqKmvQcjvjRkTjy5L7L58LtNofB5MDBz15Do8s73EGuZeI2G47O+82Z2ES3jZzn0wOkzqJN4VeseeeE07J8p8M7TyKUC6cIkRZZD9Kd+lP+GRq573vTj6NAGDDN7j8n4YqMZ7NScvF0z03vchYw+xbgZCYlLDTgKONBfnc1plijzvEoXs13CUqw8ssvzVInwAHyqvzqlCC+HpFyWBENu9bpMhQA8Yk2bxzATdvdkWeueWYcJXKIrnMsJCF9ykeo2SSwhKF7VgYP90820hvM7elBCHFFKeJNQxpf9mCYcaq8PjXbx+rHIoRKY2yyUJx9ycrGx85IHQVRTOqWxY/+GQGm/ZBRlZJdFUo9+BUibqCeAbSEV9C8Nd/Xx2Cs/6QaYAvJ6+KNvrhA9wR0CxFgK09ockwDlT6hkncT28+K+8BYG5rsahOZUO4n27Lc/Dn1yHF3ysj3XrnxQTq7MoXSUaP+kG2qCKeZtm9Ek0SGl2zPVufco8RVZ8CUn+BDfIkntef6bpq+D61YbJS7df8usY1CFyuWj++sUJbwx8Igwg6GPWKoeUmREgVdVHYkAUTUE4ZsPqCVAyR8EwMtmmouj6R6ORKDukr3sBemgPmZDFgtnwTdipwMyOybTOwDfsENHlIfZm1LDdN3Td4NC2YH0tm8r2yVJAS6JOIp9wW4oAqcNsrl6x7Lc7sZp9BBnixeTWSBpQEdPYBPfxfFulF/zWL6jumQ/AfmzKK0AEhh+7Dhg0BSFVnMJZuKJRCYlI0zFUJTA+8HGHzPmZsGxcf4sl09Ta8W9r6LplBIr1Rdx2dzi9i1FkbDe0e4s9FqLxDm5BkAJVroh1s2StF29PLGp3gzHnGuyNPLOHbrsXkYfLNg1tDBfproq7Cu+cMnHDWzkPbP3iUOMXEAFiLTvpEy5bdnCNEPJT+sj+vPOoQENdslysEZ1xOh8E5pmrtc8AgstI62McMBCkECvlh9oOxOI+L+7bcLzrUz2SgSGhntO84pnEpGoTAhSGq061RMYwhrm0+OaAVoHfjhz26pIrRPxIkUF6sdy9Xm8jRVubWKS7vbXDvEJ5kUlsyWr+gDcYYXCAKbmeDEpad3iS0zky46NEWJ6ZDlsGYtRq7JElltPxCDHpl38p9Y8hwfTg19LsaNbUSp55X8bgAjzXDCiyR9CcpEMJikq1ZEXd+49ha5ykHJCOjPn7b7oTS6EoMcDXQiA1jSKrYHyIgeKgoSCyIFWkjLgbBXgUqu7JjhXMXeHIqmN0/ZvXfwS/Ul48ALj7FcGGiKAsPGYxFAMSqCoVIFRKng1LeCgl2sJFNt7nErT6rpDa//QsxH/DG0hKC3iNfBehHVgO900J3Tv/oH/qmSTU+CBagi72SLQYZbbiwLl3obdE/FAeRkqXIGR9u4SpgNahYQblhurRECLhRvy/PNw/UTi2eQdPnDES5RyMF8ROQSbF8H/sEjaCynRMYfMUbcXNC0qhW8jMyzqTMHnoA5vSRfjsRBPYgmYEZIK41s45si0Jbp/fsd7LBsfy4NN0X7YnsvWeLYxCIzwLAwsRO03+pJ0llgrEr+MVuCNWsiAyHYhhYsn/mWCBqxQ8B5P7lOrWWg+f2lBrc59LIDXAfqg6Z1vAi4mjXLQ2M1fEz6cxNTE09du3TCBY80efdfZ642wlJzdsvpgHciOrsHcdqHw8c5XFn4/dD4egZgSvPAVL1rcnAhh+symyEZ0DsvaLpA6PZQI1gQAQxA5aMSmBgKCmaYacgYYI0Fw2KiKF2gHNLpRkm5V7VoSts/YB3C4HYLWpvcwo5C3avivIYZ9tNRTHKgavQ9Nm4+ozMSxoyg4qRF5mymI1l/wtHOl+ngSW7+PU93JtvRb6nFbzAP8fuX3eSGKzW0puP4JfP8ZC5uUPenf3xeh7e1tPrME9iLapr08+YCxfGE/9nktjhtP55MnvWcPrpHVD5Q8Wf7zIEtlUeTJQ/HMwQDNwSa9+y4DYZ+eqDjfrSUTQBzoR3oo/8wG6O5EGguG/Um2x7tAQFcn0r4x2QaQqxZM0ok0Qnx8cd22b7mokzpteZIf9F9/8JQaV3ycpPzS1OLSukyeJuM1ISG/wNMxzAP1ZXrawOnioDQHPyHUh6238utN99krlC80boDUcLonK4IRhOdpuC/fcI12/uFsJqLldVvzcKoOuX3G/o3t+KlaEIg8sEukaMJmrr5RpzAPjg1wvpYafSRVqN28Kl01eJ7FckieyXP9La+faMVmKIfYsRViL6cg4zdnU71P5B11B/vNkbHs0tOuE9w/NNdqDWU8YomvH0mTX0JGdV8FWGza4+zVdGKTdoG5vCCr8+iMrm3e11H/qRbc4Tm+k+6D1bhpECCALzbszgf0RMZ6jr84OcQ3xZ/ZYZGmxEOMy9JbAm21qKpngy6cmabiY1+p+EG05xxavkT2fM46b/IxAvJvN1SUE5DX/xlyeP0v5APX3aTx2cX02IkioC370FdYUSUGdiSTeDdc/8xfj6urnlyW8h0OeXhX0AE8kmjnoLuCjYGl+prKsNVX95PCDYJeGlSVnJGWmR1Ae0DFvG2HuythLXhNYe2hq8ZTOahgn/20wdUTb21A3nGjv1bQydSh6oP/EQBSp/vNNdDLqCgr4HLzTFyCQuk+oEoX1AlUy/VG3ewRo82NTQthr3A0sEB0CeDxhO+jHLFn7M9QrwkpYcH/yzCUZfKaNn0whw1J6CZV8F6DWXodkXhwzED1H8fW19dQh8kEJOJmXOYkEzwn6yezQJFDmeJmzoWXvVElHoNfkIFIu7/Y2zVZ9sy6W/OQfPxVzc35tNI6XQ7ko+FlERMapMaYiaMDElrzGSwov8h4EC2pCroSaWn4i8etRi18B53As/OdyRTETxvZv4p28qF6IfcdTFGWfV0TrN95dMwxh3uVdJlTsC3eqcE0VVHdsugOdUW5aIS1Znv4Lt3isRY0kQnDcgWhzBuxat5KcP7L+1EqDaku34MLk29HGqoNrnwrCZhsb9PKVn87WIODgKaBRf/Z4Z8ycYCOnBy7IM1pZ6E4QfBmueaA3iunWA+BPw2XV03/uIydI5g6VkfAZJei0s7NzB+ugkSRC219pQW+YoF0ARjp/MVc00gxRBmFgxSg+t8arImtwvKSBgdCRI9SbKgInOcYLhxApekFl4G+ZdDxG7S/spiDdBx18RsoabBD8ZX3hzCVAjpp7h9REb8KqMI5kzSHt4ou7e14HHTFqT1FMEm1R1JYRXGz/bwKyPk+enFdwo//sTtR+jvLXE90kAT71UoebrtE6Sz/GcXa4So2xS8yHr8S85Mznto9xJUoXZlwFCQR3VG6eurYNIvdg1cpcLwmU/+vj7WfvymDVX34OiAdzuN57+/oCcbyHvuMyT1zNo9Rw6QrfvETSAESpTSCjU8c1ZjIWs5OtPS6KFbx8TOHP/EYbxmCf9ixjBi6HEQ2pKEDwhuF7YtsdcHnfsucQLGbKxTGHmI2ay94mR10Wr3RujMkkawiPLFNOKB5SOl34hGuEtEc7Zs4z9WjctgrT/HTCJE2tEBfXsS9t666yZWGVxIftiaNqrIOLtpvO7movZOwy1u6ZM5eFpwFCq/r25we/oOIVPCJAg8iZQDOMUmFD9GAxiIobEPuhrJlOgkE1f+HqmTDQrO+I0TC/dYfYyaMz+RjFGqwpkdmOncDw5Fg1GipTAEZrvw9SRtOt/uNN9FoDISuMG40vsn4ETs1X+vLbizo+13pvLcn9kO12ibAqMFblcbN6OZm7mp6a+O5QHSekHH49RuevkL8zHPF2cJ051UyNEPvW74fuDk9Z8FQY66kTIWXh6/IHzG6GKrKIGWE5N55f4JnSv1NBXhtJc/e7GW8cHgZVa8bYfD02a8F7kkr4MGvGQ+ixDXtJ+c2qm8EkgQJXHL+1w63BY3sk1CyHa0NTCUmS2a3a+QNMu0VXK04OeqTtjvFwWotxF6Q6pNDGajZDGRcyQCkWt4h/tjid6o0vISzFGAvNYNZlQygTIANYT12UvxDa1MT4hYuclj7X32RSIxaWT30CCng/evRK+2mkNvOaBMnfAfxzeT3OrNOhL1s2by3bNVG4gnCNZUSJU47cJxAP+pHMQ4fGifnkx4ayTcoXP1nH9/26xiSwx6F4m90KLINXW3GR/nbUSb/wCLBCde7hpQcgiZp/yT9K80Aj2A0qrjagg6za1cVeMB09NUMWCiuU143nm4JiBiK5VQgEVfEixj0snzVi4pCdtsCJ7T5+f2WYidGzTSwPBjclBz4v931TCwYmIH0r0gIniAqgrRA004kpLcBFJgtaefLYbu1OOyDA6SAHdD4PfdpBtw55fKEVBgopHkQV+1Zh3Y6v4Wg/Ev93j4Psghq0zc6mWSIjvM9L9+onJe99nVEfZVseFxw21bCm/9W04wObki2EjgmQ6+ohwnOrm6bSTxMeN3Rze8MXqK6g2upEhA2SIaLSqJcUmNHmPpiYziU/Tq8iFx+qOmynmEuc56uhnq4Pnj/dblim12pieQjlmlXzWgncGct4Kg/lWde5X/Ye8ZZmq4PxXVmKzOfop27ld3XxXGnDOmJ5RI7arN+UhlFqug2WPpLoSuKeCrT5pUnm9/bWp9RpcAII3KN7u7kQhBZHxY1nzvBvp2P30SKpP8nWOm1eCS/f00bRkaguLfewZGsjgbj20NIHFHddiSPTplSuRlr/sWPedxnIjcaKU0/fmtkCLI65Q4LjtLKVB0uTf/x9q2IErIBhIXnKYj85LAD53icrRdZfKErW9APNRqHu45Um7i6zqupeltGpyvMr2etc2nSy+aLtywUOxN3xXJzBHLO3fXcrbb9TctfEKdc99JFLWie9+AEg5X1HJxfdgnyyITqEs76Q5pOG/bM7BBNbCSiE5SW7rAjP7UXosRVzHz46QwEbp8oOL9xjqm4sUuK/DHKCuQjboqxqmZyO7LUW3FXQZw/FExmCYFoYbG5JGGWIs0vlyz2v7EHG75c5usUJEqJxQ93l85k3RDKsiNjL0o3vhXkDItFSbNEs5ZttuNq3xmdZxjE6cAR5NIKMYpgP8cdV6nSraCfizjEfHAlE8UqUiBHWBWiSfsTQXpUA+voR7ukqU2cbCIlAzPxr7mNcGZm27iDNs+EbLEvB42jyKB9x2ic4TjGKRs76qgQ4X3g2hofigcYHAkK5GYCQJP89WvAE7+ax7zWIEdeadr4tZ0TEr12Ay4+ZGPCun634KsbGk8JDL+z78tzeOOWcvd8dBVpJTO7N0ShkMIomwuA81nZ2p5RTzX8tx42CyZfLuvx31gQKOqcRBjQAb68EWgZv8phuUxdD8vqbUim3RGGJp5/3D00mwNQV/7LveHXKKxHTYygK9vgHtKhNrzlGEsFE4CPrkH3g/i37DGyPtOiB7QqgYJKFTvjVWMCydBQNk3VjhrXqZbGSyu03SCMxd1Ano6l3BI3ODCgN6cJFtRsYAnkAgLUcz4Wan2OfPAXWsgOcur1yAhqllR3bwVA9fN3v2j8DQ1o/3KHCTxe+6MidfirNm4oevS1OhILfXo/gwwtbrn9PjYoj2vrZLv55hRYjDNRHgn7L8A5G0ftgV4E74kx+D/HXA/XJKVzApnDhBDJSexyC48L8yl1WYqhF0UzIUS40E9fOz5uX7nKyTt+yBT98wFeUw7DZECeHcgAtTilKQFEkD+Ous0th2Vx6NxAqXhB8f6Cfjl7IPxyOq9I5HbeRTMjgIqz/gTCducbRG32DSisJjQcoFLh5DctuZTx371QG0QpVIoylkblPdMXuNN/ItB/EqIv94bsqi96w7uAy8v2gZKjzoCkCOitVqEsEgg2eSNW+RD1aL4esJ3hqWIJ2DsifG8W4olj803ItbMOfDrHKv0fq4BLiZ3Erragcj75Lnxzx+S8v+w+abzqY/HXRvKSm17sFmTV0+cbAg3BY5XuuFEg8Cqit44huakvcrFlx3Cpt6OlzT5ARxQg7wiffURenw7qo5bqtpA5D3/ZftAU40i3fxR7M7qVbf6m/PM72px7l4DrrMLERaK2q/gfrsIxDApS9c338wDM3oqnEWPMqEZkEEBNye8c6xXfk/DhB15CEY4MfIw8s3OUrSeahIQOqbnWb8lwkPvt/AcvEWhtcFA0IDK0ED3ZOcolVwjVCjZMg44ULEXC8D5iwn19bq+IYzeKla0KSTeXZDmbvrQ3GLrN54bETzyVHJv98xSvV7rMq2ja4aNIhSooaCja1WK2gbhf7ztOetW1L4l1EUyBWmgZ22UX7l8Wkh+Il/KNmybxbZssgtQNl5kjk8OSsIz/Xw6Ga8n8iIacPE6sVVaNNnIDI97nHzQJvt6J27N89GyOtS6QvauUDqByailVdrlaR0yA2yiCHln6pCa12Ru9HeV1CFKdJHvMjAVAX9ywve0ltb9aQ2GEg4aumj+XwvfHbOZUJul4udrxN7dnGs6K8VNpPPgYQ5273IZVCF/EcKYFoChCcn7PiJ4jTdrv6m9cxjvvO6x7+8EWlt+WjmFuz7OchHDMAADnT5FDQp4Syhe8cuSrqkHxmL+7HhQkkmRokKjRszMpot6/u4B9vmRTXjqz6/Fn46r19dxWv9Drl2kF2UUMc201VNVlmejbrVvoMU5AHYzNnJvgAWufyQEVOsEGU/7v5DKm++Vn9upTj3Wl8i6vQCFtcHhcw9yQn8dwsFytaNKoPyybXtoTF/xBuFXVOUF6uIN1A6MUHecdZqrg5wa7FR/T+SK1vgykH5UJIcPHk2dbKjCBq62HbhJZ2Sdq3n1aRNBqp15X8K0GGaQj0J+Zjsm/um+BJj8hgM6B5UxJ1PxmgM1MnMP1WKCMlKJN+vj09KTwk0zjHx0eVmW8Rc/Op7NvhtFU8fGYCNDePhxr3dL1YoBqEPyDhy6ruEA70hGvcrEzLOlAfWK4VP0IWfeU5vkiSX6OGFuufJk0vg2R2Tk6bEPfHj+s1p5P9QUxWnjxi1fnBL1xMQ51yKp3f+9qAdVRErtZMjLSHXepCq84SdPGEhOiEstCnUc/raAjXeLhjPYUJvFp/W2YXvhJ/yLhIqa8iaIhxa4aVMATLTsLABfjz6vp6/wrQ5TjmJ0yw+ROokRBnaKFDP1fTLVcx0PsmLNSjyGboExXJMSmcBKL2bfNEj3oOLez+QIVHUBpzZVgWBN54aOqHwx84LAQccuxAxh1SGSOLdFqFbJKUsZG2aFCK51h0PDzhOLRn6/tgMO658qB+eNswSl82s7YZ17TPyBLlYSaQj2zL44wqDv7X5VcyPzz3ueig1joG74j7Ct6ZeNwn0VFMkUnoxfh13F+4aeyDSc4bgapj9GwGrEHruHeYBKyyzcvmll2KvdBiP+I2jpPzWiyzccbmrnROkNwV4TmJKqT19JXS3H6lqx6b2beHmc2jnkJ/6AaLCWkzB6l9m0jLSTEe1dUkXQToz6rfRfI62GkDzd5+gmr4tB5QIRUIdqtr9ZrnzM63+zTNzYdVAlkIQPIe7V/yrXDaFHlpFK9OmYfcijVd+5rDmng0iTCSSElZnn5imj2v9+fYFlrX6qpEf9t+51IURMW8dSAfjTuo7bwADMtx7y969ti+14i1prGCDas+qf+no6Gch4/jpIWlSRxhQMwDFVu9QROHqkoY4qduUa0MobXbWykc0Nsq8aNsGm8OdU7fJzVJtf0pBEh1q8RMIwutMLPajuLGV3fjnEWuY94PQHuDoVixUrVJ3bthsCeZ4BlR01gW/VNWio7IDpoKOYJWVpLUOmuWmSl7FWQIIStSUZouq1ITDN6ZCC/Sd1/K3DnifoCnkmrcRSRzjirC4uy51lwRsB792fbt2T3BPbbmPkViDVsq8jKSCAyLkdPgR28pdx6c7xS9TYgrbEP/6y2KwZdboiKqJlIC5Nx+fjUAaASuf6CjE6Pbga/GfTEqbBlYysq5yXSDvwPVpXfHluKTOiiiN2DZkPodslcW5xMxhws5k8bRgTqDiG3QGEE+hDkc1lNhRhZa64EDR2tVJiHDU1t04y1mw3OasyaVArrabO7BpEVtkjbLBD0TaETKPSL53aT410BtzaGD5hcW1Q7EB33ebOZG6VjCkXWL8b8GnqmuqnPi88fDd2HZaOEQSBvkSyhcZA/kGx1bbU1zw396Cy3MdSeS7GJum5sVk9LeBCk47UkyugMHONp/h5stT5XoMY4zKY/dv7hfl3snvAsY12d76lkK0M8zrPrAR1vn+nZr9QhzIzK9s5Yp3XsQ82n/wqQ37+0XgxvQ4QpCCEB6XioXlJBYtkBz8jXUEM0fJcN2kFupIAhMbJxHm2L/LJHsWIjOtfqlHDjTpMVgFXTBgq/GzIjXTU/i3LQRpvpVetjqJeHhCdlx80YNWKFtaHZn6KHSdape++F9Marzy3ROqSzWQ7YRzZZbCdDXZzSOBEzqtvw4HrUTteqqBBA2D0B9TtRZtXBxJUBBHiLz1sl5WnDJ9feBNS7sgGMIge5OM0alISP36ioFXAo1mwA4kMyGmzICgu3FQ5clbY7MlhuRBrFMQRXLyU1ZBU5Rcq8NLvTcpOs/nFuUoriqHamOtYBVAFKkO0ZMoRc81nXwnH58AhAe9hZ6SwyWOS/J3BV6mCijLSf0DIwHGwXtpecEnx5iK6Ym2RUG6KUrB2lF4oII7X40bNt9xFGrywFq3HLm1dVw7jMC852N6LJGQSIGDhPdL1CQPI9OlvJ4XAtDwKpYug9TK6qCVx+bZ0G2RCA1m2OF4jLQ99pft31pcdOUDbzlP+7/TbUGENmVKHWgn7Hy/Jx7JNsWcuSRpSD/ayghl5oAKbJy+DFXdH86RusJUIB71LLewLk3vfhnqXK/SiNnb+X4zdWyfZ+aGUtYVu68KQMibWQKNlsDfwWM7KOYPUKpeP6/TLBAErnm1SFYFFDQqp2qTrr/yui3fHwl1uyWckRZNYt2tEwxUiZshpn5VA79ry5g58bPCdxNVBmgVW4bHNSXweOYYc2IqQlhhylvf5rNmkXCh/Zrc3lvgIitUPM9hDVRPXXsAQPRtHmABFYiHQW3GBrXkcfIcztDvIItK8Eo0t8Z7zLzQQfkEmRRkm0dL+vvvfzEIgOgQwXafh3YmSBhrwo0S0BMKEPM7RZG0EtRh44wYoI4QxElaXqBztzUJfgwyk1/4Wa9FbZB1Zm3TJ4DxnCeO9pwaGhaKH7xWC4ZwnJveMMw4XDNxDBYJh2qzmxBr0twOsuqbTE8qPfX+rci+bbuvDayCsrbaq10oBXe2qHgYs40go0OmbivjzXVAKXP1WDQqTxddtdPk89kU4nYHzh34QVCil7+1Xis9gapNglM3GovLgVRtsAnDdMvfXJU7PrtDAWcLv4xJ89Hb5sh6GJSAF4nlwTC0yImWSk6aXLJ6c9ztdiqW/pzYZHhneH3byYMY4sxcHptxzunPMx29qa+7uld15AoNBcm0AQrtFCi0/FRG/lT+cMtRDNDcenbJw2Y0WhrZEvhXyMIll15hHoyYpkklmx6HwfTlU12pX+VWL0ZDuU2PLaefwD9Gzu7oZnRvcVeuN/RJgt8FeEHur9tKNNAmJJ00CiGmmGsBcGyQUYlI/KO+BwtYLN7zi8UpHLbDKLthS7maU7FjPbmml8uHZm+55Ht/i3MFE0+24MAfuoJSJ3oBg6RWp6Ydg/rIt5zO76tjU42RGBmZTS35f3Sn3ewwKkaUB8GxFIrJEKLq3Q9jlY/QmWdLYc+N4AtR8YBCtLlFmsUsgxB45uhNhlJEIZ7XtPuBILnnhEKFxCMcttg3fw+ev0eV8jk3DpN0XcIMXTRlLO3GeSQ6tvd2vZYPM1nrxpFGUc3Av+htje5s23auzCKfLfiEIc1579ZhS6dbiNA6taiU9Wzk2IuJI0nNVVgzpOvcinYqqB5iCLCd7x1mbyTwxLIEjRzEnZWlbxyyySPyB9k9b7Lwy0qa+g0+6HTK9g6+P38GsTF9YCZTvlzCGbTSz4OLOPLYEDdHYYPmhLpG7RAVaQfHSMUShN9V+aiXPVosIHSQpLUP3ZTLYyDk9UVkyyDxBmObnE6u9ipjcWgGGgxwib/lzd9yp/IXpI3LKtWmMgqB25Ks2SU2ym8MQyRj+cg4Ay/mUBRyhK5+d8rZTcJzS/gOgMH2OBSgD8R9E/Hlj+sk+sgPAGSvQy5OCce7RhRBLf2yUTGGtvi4be2q0Y/N1eHChKT2+lZOmJ3xRWIrLs7aUcFh3ypqWyrTEycBtkctjDOvbeEpUf2xREyy/WvzIkox48b3sQ2aCEH9C3WjgIqeuTBWKuXHOco6fyGciJ9BDXqq1IQEwrsIcHlmMD0f3DdOSM9A/cczE0TCvd1LA9d9FCVTic5yDcrqF1DNEuKVMv5XKxxaeEwNDKgxTPVcT4A99WRv0P9V5yQAKIjcfe9iMdH9ZkiSJsVZ0cISwZwE5WjTSlkrbfnc1VhTiksZwEdhGGhmpX9nNEN6SPOnHwFyPZvclHc3dlpReDimXYI41qjxJQiUHLQ4k1kozA1A7t27U920PdYr/21ae7+bPOwvfeKI8OuYmTD9h5AglMwrKuaokzt1UVECO+J6lBgPjAhsh5Cl+T93N2DLvHBj4Bx/ZBSihIta//OhcBOL/Hdc0nuh2dOLlML3nBcdlAfPDkM/pfSPKA83+AFraIznDcVrP1sIl7PLQoqegjtb4GqisZlUwttJmqWOBJlZsOHSfPEirIlA9BoQnJ7cSU07QsIYyF43mxyEyekORnwWbHjIKMZdMJRLRDtUfdPH5JPgbfh3Vfz95VIhiWc6R7MnnUPa1TKgITE2Y4rt5rUUPeHRBVzrLn3iZ86HEbA9UQOhGRIHIA8+D291RchB4BMhRaTr90N8DKfHpFooQAB0XcH8/44aVIM2Ap5BkomoBuWbTtLEvXqQpCZBe6iDi8bL4ywLtGIZoUNzWM60QwA/s7wgu0Fel9lfZncd6uShXNnWovU5Y0T91BEg0B93in3XNaBehuSgNAA+bohbnKbI2oQwnlIlg8wmmGRXEWjKtNBjB8z0O7GmxeVlq9ckE+g7J91RsHdad+hKJoRDKyXsExQU1R6w3iE0ZEncn9N5eUB0TrTcSdmxMRepMSo0VtvBSbp1u78ZJQx9v6xzb+wHzPSzXRHIsAv1tbpZOgC3KTlQ4Owbe6u2dalvvzIWI46qjZ4FQnc5r6yqpwhwWlz1dWJbKIIorc8h6oi+ZYIw0eNHsVqp0YLicMlmBYsGzW3Ordt4nzdvoGi8cNoukHIFOFTdkcwpuAOp6lc2xb6V2Mlv8pgozch79Q4o6OevRl1fWTJVpjaT1SY77PFYG7CWcj0n8zu2VDF8BI0lx2m5yWFWUVk+v4hsWKKa3VJ/ZGN/kCxYhhT1EpWXrPtZ+163kX5ayHlyQ5P+tBucCZmPF8oi5JJKvV6m1E+fs12/p6kSWQz+IKA4hWheVWjLkwnG6K+OwxvQgWdotmT3/UjTLg/9D4sKl6Y4H5kypcBo79H0GB7u9GoNWPMp7co5fHuTsCh4YieRPw+NVwD6njiJNf/PsEWo+ZW9XxI0AczOcyHFSi4sTv+wj8J3l2gqUEisjPjQPq6IIfKYKWm3R386G07s0poUjMahTBYbklagLWUg1W8l7mRPtKn2VGeAhArfSxylBmt41N4c4IqA9aH7EUybvbtDoTxUnQ26oCaOtiJ/ceUorV4hWAfD1RuvwzaFVvu/qEy+q6gznW5qcZ2E6iD5fpUUPDT0BJLPDH0gUblbIErvFO/AR9UJI5VCLuLZuaufJs4fBkwyQ+YtdXz1c5R9MsJBIs5a5hteDwaL2xcua4WZcjS0XMLPKTtOhaTdOHM/qDCW8B5TmlSHlWH1C2mGFKpVNuqw/IsUeEIJ8t2/xmXtI34QlJDOHzJXbBOUdG34yxgbTBJpFaWTh63trTuix1ueq3dMHJtGfBRIr8y8b3TNqNVei9BSUxm2K/lWhcTX6sgk4CT8d2Y2BAPrjP+HY8KMzbkkWhVCPKNpgR9OvaVkaUgzTTyCi3/xh0vNCTTF/Sq2meN/SMz9bxz5vrobYF89UfaJ7mgPDFL8B2/7x4hzka5arG8+6tqpdaYycyuD9eZ9Pc1Ns8Y98X113mK/UTx8BHbaO9XgzMXjbf9pNjZwZwnjKiYgq6rI4MgOIsTeapGZ4ICnNPuWu2VgUAmHlvyP9pb+EaZfSLPXhKJqsS8B5v1NAxhP2tsbltMm6RY4LXXg78yAVcpsmk3C6lDQQxeEx0t614Z5CfhuOsz0kdTm6FXc1uYGsBcHYEVifa126LHUEq+2M86M7n06ZbVc1ZjKvr2dEZEdEzaB6hoyHNWApO2DpGdme1tS/3eV+LFhIox10gUrg74IMAEZQq92NlJcmXcFQPFIOibqYzXGTXfNCPD6yWKbNUKm0u4h8eiUajDoqygbl05vTidjwaDqiab7E+SE6zIOmuyKKt4hRcs4DESydLOn+WIfWgMlKIsFiT8HXb0sTi5v5SQZRuCsIn7+wHmPyeVwDwvLJDOgArCECj3h3KNQyIf2QilQ8l7yG2bqIGCD2QS2Kl0lmSo7uZvGgnXysCAv/efelXGSlsMtYGpzyafBxvxmF4i98vpfsKZZZrZY09Y5V2Xfh50IUYAkB3gLbEsQPL+8OQebU+QOslWIQyIiXiYgjFvMzA7XHBcjldbSBHYoWu0NfiYW+3ijqXesa1enT4OFpvYivraC7iX+72sBvxUPn36ryW7TZYTaXwE36kCkr5+yt5th+B8CuspUOHMQfuVyh0P5YRy86WyIgsSxxZL9SlfEhRDORRDqbMN+yadqv7LxTS7IhE2Ri5mEHngJLaIjV2ZiEgFjPkAoo+AIvVhgbMb/EsulO8eEgrFsTIFWgir3ZXQyugS0qCUK81jurXI4K7ScCQSREzv1kvsqLiwBP4DbpWo4bWXhMdyhhadsiRf7i0v9aa622mzxLD2fX/KhrcH7ksaTTVZ7rinLHslJLuz2LOcnw/naaEmaRV5grLt0dswUl1eZIkOE2uPqFKRq0qYzqGLgrnZfJNZUMSb3BAT5+7kbaX3yVNw4/XuhepmXeSRonr+FOAAahMTuoK1XsgwczmwZTNstu9RqPIOSV/lUjg0v7uFaA8Eu0su8Agiu7P4w+zc8kFwhIeQM9Wi0qfeVq8gMK9gq9o5qjSf5Kt1UO0A8189qvk7UPlqtQDRoNCT7gKSq35pODcyUNyOzfcHzCAULPue0CUi8o37/gmzu/dTMsNqxRN4KaNQPel+QMdR2hv7V7OJThZSx09pER3tjhI9fu4/5gH4cScvJxvaTOHyL0Bk/mTvE6yidIQg5+zd5Sgtab7O0Vh9w4caaI/LJ4bT1adXDqRxtb8lGGtqC4Yaft2uQds5lCSPmuWAwErrFOi8zLzJydV4g6Z88q6S5Ho3ysbgI3ERmLqqXI53tbOjb12YknD+wgsOl+d32Gj/mLb0ZGcKg1/0d+ogdS0cU4uJrAVNsgyO/g5A4u26jhX2HgPdp8z0SrWiksYByUCHKFP5S4DD5MlKHaOnhBWHYHTvSgFEbEPcnl9skLowyUkRCEtk7YKXnC5WT+lyS5Atz8694ZAYaoctBdaFYRmJQomQBmYT3PfhOqLewK/KIoXyg3pKc+aCSwADcJ/YtIv/F0FPxMJiYGlpO/lJCjnR5FaJ1M/YAWUgUfuBL+CZafc/jhk/+kNsslQHC2qoMbHDaMSsz4Jdn8wYjFSr5ngq0jsBZIrMCEzq1z9cNvdv4DLHduG5SPIJicoKMTDU/ueqbPBET+6djSdejUFmx+AnFzDqvMupI4A+2R6TzYYk+1UmZbo+Ybg4KICIPpvgpMBJx60DWhur/WFvW64oXeo09yBZ6h78j7VHuCJ+7plMuIK3qwHdd47Ad9U5gs8zcVcKZebs8zLE+dScVmjxmbFGvFapOtDMzCxRmlJuqGxHNwa8V3WfQfpht1cAZo5kE2tkLjKvBNChhHtuVzM9z0iQ1MCNPDMsTSNNe5PS4GjF/TDaluS1rFk6tTtbnyr9gbo09F1YqoDO1QKFMR2Bfw2/YvUSzdS7QQH5JFmKLe0QA6ZTVSI7YD0JUBlYMbZ24cF9i2T43+GpO0S/Aiotph2Y6kI+o4y4D/Q0jSEKVfx+K9ryPfeMLjwc/L6OrPFJA2xh2LFYLWppvlhiVXv3feZOk4ED1hmvvArFl5Euk8yhfZaL9q2ZCNRYSzrxC170uL5BzwfN6qRhkII66+RAJ8gB8GiB5ehUtr2IB5MS7AWub1wzQSf9BgUef6SzOUORg81qzRdieAR/BPsIEbDdENvrVG35ir1HlKh0FyqQB1rThn01+ioxTs/gVx3Bv4R/SfF1P7BaOyq/IdgSIzmOWFcJ0IKWX+ULlRJFzy/MkCJWItQh73cBxCwWM1/e45P1W/amjRP2DAnL/sKZDEYtbb74Pv2YtNDuk7grQ5U+rwVwOAdtzY5jGfFNvCpUMfjiJzmy53byAg/FxKcI62uroOfQE4TugzJDD6sJuJ39PSFwayZMViY0ibqXRXVDYrMDRX3+TydZyEREDvLdOd/dDrGUFlwqhpBS/7Ad70P1a/ZGmAlx1u2YXbdIgvk+Z8q24l3ic/W8V9fMpxOgQyQHkuw+L49dJgL5ZFLoHmi+xmPHtNpCwRKPwQMVmGR3xNXV0w7qPyOzqx0PfMitS36AbYs+GsSu1Ko1gIWu0eSVZeZpHVwQNrCwTrlMThU/2hqL+UgCa89gPREcqNJSugCPHUCntTBPzvYkbKI2URpC41Ra+QNeZ6LR4mSJJxs+wtJpw83BQvx9jQ519NONYx/odXZdLaJdRfl5hKHTxugasWN62ruhTENcf+2/ebPmV98LuAowLNOCLpNpmr5xBj5meCPl+tlrcbdfYXHiHKdMpGTLdhryJ4jA02uLPFAAUTO0+XZ3wYOvcK1AlpKI4Wy2fWWR0CbtxinK1OlOHWieXSg7wbAp1K56Ui77IEtwcdwnysZ3INBXbv72dq2yTiz2DP6nfkeyf+AHCMizs2MDr5hL0tJ5alIGT1Tuy/YbipRmhaDQ/F86Fyj0bHkuctNctD797a/tLVpt4vrmXwBe/RdusRukeobMA2Jcc+BAuWwjBe1vjsqvjkJhH+nA25vdItTONkKOaYQqMBVNcvNWcANgxWeEcUM/9UpOugZEYdh9gdhXUbZcZGUm6sYlH+GrEuwc5ncLIY4UMNNhmw0le9wcefuA0+Ow3jXYw4dXT/FL4jlP+o17Ezc3h1/bX9QCdM7RrpxVVGh6AI2XqAR6NH2oLcQRZjuk9GAG5azQ4G1bI3Xg90cKhM0KdUuHvRpaPo1YRInNdAvMy8DgBfCLprgRAvB/DkW+znXhD1dJyjHIfmvD8gULQYtNcihYizcWs41e0KCbwBOJiHdPdHEBiIELKTerQRK9o4PvXDFAivieIWk8kr7dh62g1cK7+reeG6cPioa2+J/XdNclv3OhCu90XtGdDFYhhesNdExUFbQQDZH/jLbzNj0cxxV8D7l2lV1QsmSHveyNFYdnSi+fryG0gw1NA2w73KfBqmfEr+sl+Cbja+Mb6jW5rUaMkkrfUE834lkvYPYj44hKv2ExUJsK8vA6UMrfHk1cSg29/4GdhpfBdMRoHX82PXD13M9f99tJryDsT8fpgoFcgSMOeSG/FtP+7BXGYKI0eYqJ0eQafVWKlpwRKKR0WjYvxFVs2Fmta82QvD/+m6rfKoPTGYsOx0D9o9ErLGqQnVYT/XQJU3VF9QOK6WCtT5myPzWSERSOQ8JARRRRuhYkFaSQfwteEQkn0xMn84zZX/ekPCU2MxJyJSYzxapvEeXkQO9YmNbuixgdckvznqR0VDfvL5N2b2rD+LMRXTF+7P5L9xguFjUg2c8A8ViPCSEsXyG3BGgusoSXBP7epNlQaVa4gj3RkbhxjJoMi3u4WfS9KFWlE/llNFcGaAI8nIHb6+M5DSPXO6Z1SLnggVIKWus4dC1A/DiBsTaBAjD9Kix2nl5EZcpxVrlIo+Lx+AOpbc2UwMPN7jHe/Vab3dc0Cy56nL2vz+Bh6yXe0esFX6R53SjLemp2+XjzoGhD3OrMYCKLu3DlDGoSTYHu69X2wtTPInSKMF9zCv/BHeEh43WRXiN2TH6cyhdDzdEKVC+DgcpWHRDPzzd3mWLJnQ3l+z/dKzlN+xDW/Z3Ybs4Aw//V21vHVVZbzj1MBqBhOx+4cVeKjVtrBfXf4km+dAeb3OwbXNPs6Re3DmdUkEIzGQyIrs2CaabBNQwO0OooNk6jkYJFYK07B19Z2S5TbzkVNYYibMSst4BWFZYQ6/CpxpJxN9Ahv78lbS7Rn8TlSP2Whv9l4yDcguer+m3W8ntWDC9BP+3ZvIk+VLkr22u/HjKHJWxGPKeoMLT5jZL9rf9XWw5wOaN598B0tHnMBlKP3tc0Mjdw8+FUlrUUabWsJiwovuTJYTfsYBDN7sgh8WsKCONtKZrhR5IhYl42tbvdqQFPAJ4QeksLGpCuwXQuruVbJPid90oY9cpdH3AwSL0z5BhISHQscNzET1600eXj68uUePMYngw1NdM1TgjDTErv3pae1er5NvsbRGY1f7uKqhm6rnPy53IlLHm91Ym9wTaElF2oUXofoLVcq7AbxvGAD31oVX8ThNqRspBa6ieforJS0QGnib7KgrJDdVcJl5Wz/KhPEEQQkq9qXTTzW6MmBtwwtPdH5Pzs+Ouuj+56+7c0EkQS5Wn86bHcXExg8vL1twTay8QVKC4TWyxCVr8T72BErlyNo1WEpPnZ88o9+qpi8fNfj6udMkoGibcW+j0xRBhIsiF8rq/wBFXOzWKbCYj+raDBhTE1arlI+EaAj4ur8kVv/CgNgr8V/hwbnX4/rChAkQKaKhA/CnPTTIFPW7GMSNE2NIIliMdAp6+mZvVf3cBsTblBTBrbypIXsKn4M1AjGZ0eRGkYJgkI/JIFiD1z5vHi/gsdn8DOJnguEUSqaftPFF4OB4dDuM72FGF5mKOk+ZYMf/8xuFoaav1ic8eXIVix5SNj7CVE7/xj3rx07SEYM4twMsYVoOEYiLAgq+kyxg+KfheEJuS62FpjJrUwSzx6dp0ObwS7+Ebg9Sbcd6Ub1F9n+BIlXW330ACcJLttfz/m4PqssWpN1qCub5ewp439jFmB1vtgr80547PbKXcEJCCEfj+ujisaq0VAH6tm8zUfSICf87iX8l3nlsJCpC/KzwGYjDWonbjiIt5YdlDj8YDLpDGMFkssbk/xMacHsuty6XIQYkNNMOUjoyoOiDC507lz4AZPt9WyrEQDKVeJ+8Rrwi512YeFt2BNMHFBIlBOwwJzInCIdhC8ABkoAMK3D09RzWUcSc8lCepJGsAoR8nX/BysqyWnpyjAXQe1KmYU/JlRe9ZtkPN3tpkyzLGcC7HyEYzVLUJyqoMbz/LZNnCVqSNZJVwrUhUvO9//k2mzgVpGkKUBMNHN9YIoTJl+xagL9pkRcvukNT0Mw/bmRLq/JsRBrs9X9w1tQB+vOgP0Na8eGjnnKomKd6sYkoFFIb1Z8H58OE2YoyQXDG0X2mWqlarlZwfTT2SM7aoz+/8hyZ9Moy+lRiMBnpNar7NJiUFKp+kE2txlNPuuj/rA25D2Z0Ma1RtuiCE/c9DPFXGNgB8riFvZv2lPBkdnqeTKNX5kivYQQmsP1JaVvWCGIZi4t8ua4kqMk8cTA7ePV4OhDd4oYGML+atRVa5cf4WlKkevYZKlkHYbshNsncsorQfwHrtyP2WW1aYywHUC5zF4Dz162mk4aQAh2hBot2YwNsQS2zvnqJmbaueICyVwka/FXc7KPMC3Sp2aw89abrctOOuxrpU6AYhE1nD/sVFACQIoRD6htAdteRqbj9QhdAIvEfDu0CP/7SjYqqooZY4SyodQwVs+ThQppalmS5JQdraXdFnFa4yTvs464lNsBS733mhC8kY1ZbjoGDfYg8QyYO6sjSA8XM4Rso4a6Yp0rWVRGYWOdiDLyk75OVLQ6Hvna4WGG2U/BVCJcEIZKxywUxmXF6c7Ilof+eVXu+pHvwNCTU24ku3w4/eFDQV8OlYwI2Ciqq01GeekRnbYsO3p1gSeAXogLxUehhOI2CONHGj1pJKQRSN3T4bSaz6xazWhBKo3x08MvRiG5RFC4IUbr5cFmBdY61PCLhvVW3VKDT+Uu5QAWQNe/6JYssECv4pecp3U88Rugt5l3Ig5ZuKd8VWmccm/c7f48Bbf0xh0B5R0Bcl8YnHT96kghXWLAmhy/nnIItalZiIw2dWZ1x2VMeoDg7P6HMFru1fQMRdz9xtAFOtabdg+lFIxV844KdkJMfbdJhsYJcHCUvaxsWqRcYt8Nympt5yqsFL5FVL2gFgCgvib8VkY2f1Q/4te/vc/MuoP9XFlu+PctsPaKntvVBBinEnBmJs12TbjwZ3Q3h+8Dz1MkaY3AILEGViIDTCCSUTeNV0cMxBKipJvZFboNKZNrYCLYQoVWT361pRYYMOT7GlisqbIjkHD3mqjOd3zUT9TLxVd6C08EpVgpaphIc/1rfVs8XA/Os4N0RVQQg5n4P/pYKD8+H1+dZf/QF+mTDyuochhtS9gZITsVkyUuEe47BrB+3kZ7cT1Usrhe3qxc+FVGvcKm7cQ2mmIkeuHmSQOB6BlUZW901hLmjoaVCFxqWvYTScCmj0b3yRmszWrgYdPxsQrICdJqiy3ljThmgwq1ghfYReOfg8vPE5PypgcRqeUWo/IyujVOlKVMVHMp3H5fKrt3sBV7nLWNhDrqHi9Kwfi6hRzrHUpU0ElwKYy9q/a65E5MO2TM2YM4I1bGFBAuGksl22kuKyGOUOCv/CN9gBZzhBBPF54raYiNaa4z4nm62jc08/d7ngkePGQfZ4n1DYUn0YAkzwgttFJ9QbKsneSyFCELRd3tTkHNpw1ePIlz9/xNMMOz+Yyl7yg4Iy42W++imSjaOteUM3EjyB0Bnd7BbKSsXD4nm9GXAC+VXclGJDjJ1YakCr2537W78XWAG2TyfWEcUuzpNM0UaBx2qwK0oqKoRzQPjGDiTsmxvKfJqBZuGG1Hb8GDhbNhKjkClH8M0b0PKYLGLm/aItysLKnaoLGXrt52jVDOluURgzTe+YQAc8oGQhC+qZv5gvrIwOHzAnP4VUOw38RD+ANWpXmGHCBh2s7zAbfTQCHUaUVMg8gdFAj21OL/oflG0bE+mUak5W8jF3tIEc7gFx9vZWnx5pNi80ZtKgp7pIDnEBy7JatnV+6sS0LwPPjito+v4gS3MgP8aWXt+DLJUT6aRvoGGaNBQO0tqnpPiUH0QokoHTBHLLM34Am8FHNYV5YB1y9ZGUm08DYtd0WMiiE9b0U/CRwIlgsuCZHO3cwFjH84krnZ/FMEczcAUgBAUgcV/Yp/4po9U3WTyPRWSqJ/JgMJeBP09Qx8938r8PjrIOgF9nbdkbjsfQsfJ1msyW+7sZ02AMKUjaibt3HXBfZzukcuwCazlb+knvguiyJhf6Jk+GrbbesSHTt3FNf7hxvAh8onb6M7MmXI6sb8i7LqYcjMDwyJ8uXgEeSDvQFqS36XOU0zid7nrypdUIiAyOPdoPgcvCmkAxXGcyjJqA1dmuYuwT4XhQAsMHE0tBrQ76zmFFUH4gwpV0YhxeGSPuoHUZwJjkGAWS7ndOCpUXFanMW5y0L6QxyHLbddUZrJv1KSw3pLw70KryCIw8+SRyzyMVRJ8FrYC0rbB6UnsU4H8aYbM5BoiHV6WwNR3wHKgwBziphnnByKDFjhefPorUsCGyXuSTqTXqtP6jF98uEpP7kttMcwexKYXbl1CbIeGAOowZWJdYgb7JG6nZ8WRvWOQOv2vVGuCkMQNeOh+VtDNgTMEPJDle+tuhZ0ujX+ojFI78R4NzUWkH4YNQ79M/r31mmkWH6JUkwQYRVMcXMR3ifZn1eyl5UFIbPIsn7OGCc4+/eUMwzlOhKOnE1fnMZytm/QVLS0YOLl749Is4sHSwtIEYUoBZV3SP4eAU782exrMZtorEJGGxwuaYKq3AraHG28J3bDMnlwBrfHYnd+RIwoZ0WRjhOyufIp3TFzN6qVTjK6VyDrUTlFhT9kMZvqN0ZEalqg6CmDFdaMUYI6AnOIVSw/DqWRee+S3wUvBaU3yBoYuuy3iGLpstIPvJW7thXbMr7bmGSKIW/gMEPDXdolSUIhtz11p8XCOXPmE9JlrkpThPC6Za3MJ9MDAoCEl8ma5ZUPy+zVhZmSDPvnGhsL26nyDn+1/3HIHT/yuCBReFw2LtyGQDgRJbaiB3T0knvG/bxaX+46haeHwdpbRSbnyIEspELOnaS4oNhCU2Orv+6WUHSHJuo1L/HbcHLwUsnbMFbZWyimADVUDaGSZiLZHydnEtBZ0r2lw8LdoyiR9BZFpZG8lAtUqTwZIAZXhAbhNv/9KQdEK7+bBdn+MM7h7O+fow6Ewp3r+eYWtnvKvvu2EBtLA4u3Qm6Il7vP+qaFEVtkFStpnMSecVXI1fXrYqfd9cSO5+25QNbYlL3KLF0c0TNxYe7XBnuHoFZt6LfPCNziSfwWquytBX7B+Yynbmoj8UOysDR2sSSesTtwQFCczwidybMZ06bxiep2wxW/jaW4o5S3K/m+6VzRomeXFlPaLxUOpKL95Y8TXCup10KF/MrzFpwVNVzuGlyjPgdCUzU8FlR979nFQOAxlCMioDGWDcELnUQ1l9RQXQmyVEwEyNgoFfT8oBir275Jw93QSzzLu6xNNjPnpqtmRzHnfSnggkwg4Pe5lLh/0wRGD5U8wtlH5x7TC+yCNFbq/JFJ+pbD9ce2hOLNwiZllhqXMFfk9Lu1rUN2HyIhcQ1M/66rrnN+mtSBzRoNUWtUMgjNZPIflSaoptUKtWHkDyAatKtEwggSivmLiwQgvPDbxeBND8hzZ/hpPHC0zqSoySW9Gm7AGJLDiCb20tC3Mad6VVaqCfvw1EqwbP7LK4poaRSz/Pkwk/Vj+Y1K3YIO4QJh4jF0FsEsWh9TnQcwxp/HLD2z9O/4hFnV2Px5JGlP02h4L5UT3/TfNo1u9dG1aDQutT17xgtwVLYFG6kAJRMicZEmStjrUggs2Pl34IWU8rVtoHU76TymkFYhA+2D1z8hF8RGiEvMrt/HM6JytV2KF5LcciE4JtoPYIROnhp6pu2bwSc8yNfMSFL5QTC56Fd1R1xJ1bbzmKCPPynR4Lw7GK4h+uMSFuZyJ4y1ixlJ0UVcgm9ZcDNUaw0mCKvQf5e6NnITk/6p+YIqZApxr1bvAwCdRtcFFzJdBE288/18FQiUEQ1M7DK84Mf5qqDi6qx1JMSH9xVPWyEftV5LdGGqghDppItj/Mf1mH0ClnptaCkFBC88THqDwnN3etvdOush0OagWo13PiVPOkGHXvIRlzEIlDgfkncvdnqLOnUevzFw2kLcB8oy2KVo4b029vPh/EWMqQnaxdYBe6dNE1PWmiGzoqnLOR2HTSAcBKmx/kenXjABIfGEY4VZeeKo9oLVnaNcyTjOpAi/eCFdNb52LRogHohlZnzQmIdd0CDlqmHZBwd+BK9cyGl7gN/SgN0B/Qui4fA8Hbo8U1YkmkpYMZG8F87VCs2eP5zegsabQwKlLRKDk3SHlyZrv3Am5G3Al9E/TDB4QdqWUVRBeoeZ7F4TwNY0VS3zhUW8Rv7BWfKf8Sg474hj8HnnKu+9dzh0BcExjBj5YRQzuFM6Ux48iSjBSAZShUWuh+ZLOu45btQNSAfyJv/HqJDckHsyAwKw290N/Xls3pAGreebW+DEaPQ39KPO9giujv8KrA2Tb1TVhCA+A6E3jXNknvmhrzMnnK0dVIq2IZwRuYGOo0TcL0eyq6FSP+s1pBEB5gb4KnP5fm0uFKnq8oD/2GkFcn88U0v1WocpH3azRHV6GqzxNTxHa9XKrUWbJWL1d7f8uS+Z+loHjFyP1FwJtu1pIXZRvxyDltMUsyhi3h4PEu7E7nyKFobw+noKXKVG92K80RS25EsXBlPKZR71Q3L3NmQuFdd/sL0xkI9OXXTZOkinv4wDK9/wO2zQuQkyozS8fgVoOr6TIDalkC9CvdE+VlF6ihki2OA7wPP1x+ToqMplnluIjKYxfYTbFL0uAJ/fcsHNOZ4vc1IzNHmwQJIkWiADc7BIw4LX9W5HFolWEx9EqlnYzDZfS3khzWhLr9TRV63V8/rg1rX11eKLuaWw7X89XTc9OJNIl+En6BI59P1BAQw0Ln/n/gQOvGjH3vhY17VcXKL4m/8mbUKw3S4bwhMRfn6JI/wzDmtxDB/16JQWGXb4uoB0sgj/9FQAd96pUj1Vss7LFf8HUa7Ex1/hwl0twiqSFrJ+ZemaPXLFjVEjeoILEyAujaCH8Uq1BDwlWWvxfZ8QtoUmPlnDPj93YJC62VXmf8DdnDlYSRmF+86bvzT9UIC922tWRQWEteSAgRTlntM33pHPXYHcQWqOmc9fpniu64mOu+/Bk/YsflrSPk7Y61jMCZ8YSUAc25wrGduTvsO8j+PXuzVtKey+U/4H0geKZjCFn0wS80+MyPGLaa01Uyud+WtA9C+JJFxb9ZE1FErImnfco3Y0ATwg4WD5wGK0lDa1rowOt3srte25Ev36pkUvz8H/zqIm37x6WnbWlQCBJNazJM7moyPg2kx/L86B88Y5NGy3JAQ7zAZppV277kDlJrvE7gH5N2egzpXcS1Ttl1bo+B1ZgnYxzFMSdHWRg5gTeiMtG6upNNnxanzTYzua6t3IefP2YVrvTcgvg+Jl0A+9VhdPcnfWF2aLrH0zG23Bc7P88QbrqvbWeousCz0e9m2AAx4Ar01IFS5cHaJHesWAftQhPM59dFF3GanejBQfxogfE/y3yL0g72HTYNSRJnlLSIXyl44A8+gsVKr7Nh+BdwUXSzJ1yBaOWBH5gMMKT92uZxM4Abti1xAoUN+xS+S4xmBeO2nfEWeDOrMbhBAtixI+iTF4d1RYXhlXogoa6l5sMek6ZrKH7+fFguLKPqoad0j4rX/3mgxzFJpAlm/ioAJMh7G8VRac8lOrv2LVsMdrpUHcLNH025E8GtZtjrOHNqcTkNJwcY2tHlHLbNlMTUUpCRNB0niPZBElFpp9Ad6TP7hAYs2aVUNdXmnDME/IW46Tq7a6VC0fmm6jOErHqzLY9k8F27R+fTsjjZdyqNYG/jzhWNGObe7K7gVcbyiRNg5P46NEIlCX0Ca9ELuooGnwwqwYkSSTSSbLUfjqJDllTk8KZSzbVxn3y6gh5qY8DvLtxF1T3WGTw/oNLjTltnlcmFhuy2NbhQM8hXbFUjAW16rItiQy7C/LbJT1OBiYZSIZ57g0UICzeKJPvZ3S5hxfHs8WRAhhxTOJ0kUg9t57S1zaBu0sYxUvY0kcQad5S5EgwNG9Pd//MkCD10EkfzfavxPqQTxkFehy7JctP/UHRJXqpy8tzQH/n1869SN+Nsm5vi0KEmKoqApWdlIwObvuDoPyNT+rUDDsW2AoolHm49YCUociu3Aq6ihrD1AyVJBOShDCW1OY3NguyTdVU+bj633lmaE/zBfnrguvgNddCTxP5MoQtB8D5ok/IUXL/sv49zm2pqA+OWBGQTgn1tHam2dIPgH8Gp+ZgQZm0Q8IwqoIRQmJ/EcOTk8WmMvgjSD+F0UTEDS4yPj/ecdYvy8lhbyffv5PYjHn62mjX0hBf1Ky5lzekUA6o3scuVOQpGnpVi13XaZQXrXiLq+4t/kjzH8zPMuMUPLzz7yrqVG4n1BnE32gifO9lIYdcMxmLLr0S6ADDsTR1LFsCJPAw6jeFAMZX56yxu8A87dyTLoZonvPmazQPZRUYU1/W77eS+RQBWVMW+L0ic70SrCCrIkruH3hXHqzm6FSFGetFv1SoXPhHj3HHA/h2PcphVxzi9HvdejDhyRJSmD5T+V26lrtpMtflU8oXetS/QM67BkYCruLZvtgT8HS7QW/6bYpHwkA6NAs+9htq1VqOafqa47tNkT1UPgU1iSJHkncCU2n2NDoZ89htcqw4gqdzFQLPqJX/nplv7lv2uoRUYg66QK0bOMe2UjVL8GmT3cYZhzNvjJm86uEq1RSJ9PvdVuzVstXWJHqbIk2VIrqbGInCp32PiG9CjFrnDNWsa1SIupp1t1NQZ5KFvTYdzxS6DssnYbTUeoZ5EOzdK9fq9yGJePpChsjfHCOXRQtNWzl0ntjle6IxhHJounNKHF/xndbYaZlnfk/EZ0nFIr8h0M1m/pnDzPqUHPBG9aD3iZJKDnKG9hVwFrkoykO7qj+HdshIZEuvfVhtBu6qMqEDiwiIbz8JQqN6q/CKrcQ672YB1hHu4Zd0vYMkRH3DlWYSdfwsJUZ0lLjkfZtSUUTGaVkHJAbNTbcljpZ3295/hlzIo9GQFw3sdOKidGGV7bzOME2mi8pVzC7Ab7EsdFRPan/UTy8qsgpiw2juaTGYjPnE4TAhDfS/wUuhy0+F9H6C5Q9LnYgFQ1hR1P60y9Di8W9UY3rjB4XSkN/WlAFkb1fIgarMr502zXfBNYj2tOzys6eVo4HOZMlzTMR34xLjv7vp8CGG4EobEt0Rw0OEDpHTDaWtjw10KTlM4mPjdgYauw2MvyfRp/E6qzSbnYEUPJH2eQhdtFML8jLTJSbyfEaW74AJO7GI1Qx6euitiJMLZnl1V71Lfonsf8Q4nWCc39BG6X/LZSbWN+ytw6k+SN4fAeLHiJTrHFxzYhp8Oen4RNP5rVQX2kcbOuUSNpycUXpMUtEBQJUkvuUFlvb7RzhlaHKR2OBlurGPiiYIj9L8IwV2x7NCVmRtxMykDQHdRBnTlEIe5RHqD4fDT2JR1VkRRvP2p23TZ1I2jiZlGipo7EIYJ6LOvGovCRl5mBbehr1t+zq/lt2WBOzTINxMJzpJaiUPaHL2/WL+932gMqpksr/tbiqv3Z1pvA1H0mXTVI/Gj8Q28nXITp36k7S5mTOzCwblMgbBI/Ywi305rGb+/lvtpqSJ6qaUkUWNV0ifTTaJAmNjaQmKmRWJ0QaMRyUKQ3IRSMHHoul2raXVoaQtKEzdcEaxzEwLw8Mog0ROpp6ORJaadrNbg6A1oslSZLhMi69/RyZ72+EtFn9ac2Y2kAeLci9kaxJyXH4bd2RdWkrULf3BZ8Fkc08F0fRDYrewAkPUEb1dujHICG3zf9EZxXfF039vpjrtglcaq6Z4KgzmTTfxpUSQK7OdU6K/+tFWzDtA2hFutHqS0S26GqW43wZBhxJabAIpF1yciFXpOQRgqIol3ca0FDu77A1lDUPriv35mbzs2cYV/fZabmA0d3bOtd8/Nxmq2g+f5KAYgqJ4a/j6OdgCR+WnFVnUogyGeD72GEiOnTo1QbCTptXLb8O9u3h67z0vCy7DXlwB6khvEFLe+XxQJwtSRo/BtrY4Q4C+dWrxNTWnLhnn+ehV/V6SJk9DBmuIPjaprzdUQgFp18bAE6TNARZRdIiKW25nKY59Whrv5q77KuD+zkPYjLY8a/WP2G+JMyOawjVXE/1MnxBXzN/bxFu+X2DrhI0aIQBIh6BDJ7vHMItyG+CWACEYcjm6k6beVILqKZE7eURMMd3HbonrrjkGGfqGSJCaRW7/U+zV5ELY8Y7pdj8U9VU85JR8fRqE5BXEdbmMLhNP7gOiyJTwRxGKAYxZHN/VZGJt90A9I61KScDhkxDuWtvD9Kn8SXh+qiuwi0jWhVewNrU8cd4ovcIfabdj/CYoRV/fSaPUXwL2AbRvRmGphGBDiGA+I1R+rBYOmdEKHnG9nYjWoVQk211vMVnHi2ebQs5uzE/rNVw1nSoVKKb8MXKEY3UHcLlSRJRdfDxmy8/BG+GSRWTUT/4FSa6n0nx1E0KGYuJIVxP6vvM4JJJc9NB27niLzS9MbtgZcG/V+kyB36u3HZQWt2tyn2NkKRlbaCKBowtPWuXDQ9syU0vDXr6VEFQanVGSbnOxHLE/sKdpNnbYHK/JpjLIiQUDUJYXodWK1Dpo5aeS7Pt4ERUM/TK/jfzrnfIR4SlRNGItm2FzViCg0tcczOgAa5fFo8+sdHDQT5ZUr0JRsHF1mALc8YJqb62jCDPoJL/en9T9h0fVfLI6LxnDdHyH52J4uJDXR8J2SuD9JClIiQhS330RdTUKvtgZL5t1hMltNDR1eYQA298s9JwrNFGBZA4rAxemH491WlG6Cprb900QZlJTfcX3KvnV+5MXdlkB52ADvKJnSVL4EIsw+Kvyu0bjJnA8ZJLXlNW/A0pk3o/1Rs/WJZ7quYDSKr6N/Wduwdens2gIu8I5PDuA/WbIW4xzWZYtXTGzBEPLYHAbnAr2gCgHDJJLkUmLPjxJps9JwYTC+t37fFnAFncnunSUZOOCwaBG2DsGjUQ7+ZV9KjVXoHCXio1vGOsUvVcGFkeGEludRGa3ZoJRBeZwMzo7siPQ90RovRyGTBJVGY/We2DIIXX+ury1UbAnPw+8aZ6vPRaK2l/FKwmwEwrNc1L5aZqvyBg7o5+Wyb++V16OtD0HLKbt4Rj+UGy8HXHdaLm2PLY7IK9RM2JRQKnKMFwSmoUcyC99sTVwK3/7Mn6aKz0R08iwO/QIxASx1rHJRvlYq6NqC1bWJB6tezgsNpWySN5bXe+/mLeTB6qXlY8KVX0V7Nu2uxi/z7mjJuBv4lsioid9qGDItZ58THF/+H99/9+o5T/PSZYgRLYWMFgTn5AUo2IUwgy8kxmpantjsz0VwT7XENp9A7FvpjC3wDbbON/lIGXvX2UQmHh1vkLInnvIKzoNQIHHpvJxDX2Cg2S74VPokI776TM2zsl9d2cjmNT+kkRYs52EAHv3uDwSHqR6gYCCN7P2++XY9eU59OgUsc80fzR3wdAvP67hFXOqmvi4eM2IEkSVHNnsy3/dpxtQLP1bGW26c0U24ECfwCHXzshegyULrX0zQk5XPoPSBciJMyhwlEOpILYXSMSOYg6KD1VWXJIsAxmAFgIViVrRFuJyjOnHtGMil3HQoutHpmarfYPVPTrZ66OLjaIHE0pN/QCuQfPY7pwuSLqbZKmrQ81TJexLzOm23vdVhLx5mrhZh2rYmGHSsbliwuWWu0t4g9acUDMRpht/wCoc8wyZjsbOuhKRlGsN+RDSWRIXDpzE3xTTqpa5bOfWlVlBRNatjoDc75XOLOeZ5mkSSYn1f0lk73hPSdnpcJJhiP2+t8t/iBC4Uk5BEgMQZdR3bn/0lEBR7pHLsSBNn7aHiPHNkOWGrvV5cJyhfbO1PAZ6ebBlqLi+FR+wY983F5ZGxvAMh0T2qfbj7r5MNxpG0TJfOUJ50STe/sY2FbdD7DPgomUhzxMJEYtJhLL8r569K2gir92XXvskYMxvamTj2iiWxToDWQs0iP7ZTj/IoXjCMkAAthICxim9mB5nXc8LjxaLL3dTWilyLnmDqOf1/lAD9zRkLCPOaNj0JWZdmFRPIiuRTThOczMJB0V6UWgR1dJ492Ghtq548ccUzGX/H45ps9pd0GBjOwXjalxm41BDBulbDiunVhxKmG8dPgo8DWvoAuVgSHun6u1etzNMCP1sHZRW2W5YIvVppp3l5OerJvUdKZiu6RFcMwERRACQiadcTqNZh24QOe1E4dsuK1aFnqBr4PMwrmdoVo0QvTZB9K9ayODWNV3+rf/k9rGKNwZ27csuKGf1Gu6B6Q+lLgrDn0Asvdl+L9a2/2NXPjFAyAmxk0h81lfAqvXYzPYVeoz9UVzTDfdlbCsMykXE8vSBpw6SQMMxrRHM2uQ59rAlecA9oAaDmoAGV8I5dMVBtN997v88V5IN80zaKDeBv+gqqQDRSvaflTFgHpGX5fOSQyHcSxiw0Cerq/YyTMUkU+voZ5YtYbCTsjNC6HhB+5HUDioqVkeAX8U20PBmG7inRGgry4NnVHfEgHVMnKR8apd2tLnquD5i/DkqXdPR8kqTZ9HCdS+fk84rT6JAOAvyH8WLxTYBGBQiWajasQOvv86tM+LnE2o+q7DUER5LT7YN1uvLOc+jBohJ72JigxlTwto9YsmfGii2I0dvOkXsOSYZSWXj3ECOc3EBUMUSsn+EPeucXP0XrX1RAkGfXtW3wsskjDmOnOWN3zv47q27V9sBFWCWtdO/VHea22oTgVfG0DFJaIOTsHtv6NFvFOr83PnY0z59VYKGDJOLQplhr4VIz9QB/7Wyyj50YBWSavVLuJtQCQOBZfZ8wPmYwD6dae7HHIukwoVB7wtaVXb2f9bdYebc9J4TgkH89PpsQsLEbksQVxQU/AB2MFFEbn11yJuuV9/fUSM3XC226vDMEDmemXu079MIASUpcdB8gcB7iONxwkEbeBpoP6yZV0K61ezqg6X9mEHuocSo/pdeEeeSM/zERyY6YyGONpcxetpQXWkzZ3Dne71p9f4iN6DGq9/8MPcY7FtF5qE7/NidCfqTzMVbs+S1QiIYWLUO2uP1HyK4AYY7NPb/bBt+xkuBom8QZHMO+VDlfj901AEV105WbH1g1lQ8izwnOzPDCjZMG83tXKdomcABK7fbh+1+gi2beTBv/2HQZVIKyCfiMq+zbpgBsB9beoMhREEAMRLEYEac2ml3gA6PlxWcbLDNuYB0L+lRLeDuzj6RQMZh97vldXC0u8G29GHDLQ1ViIswhec8SOET1OplPBlVXF0yp+l+5slVmXt/K3eEiyHDu1kM5mkJ97zuQYfmSNh8jpKQDv7D4AFXpSpldqYQjoII7dLm1afLJg07Xy5eRDRv0ghJ7GMVwq7V7IfhulH//mJLCGpNvr96MsY+u8M6TTQMt+zs9OmBfNpNixSuISYDStaxHngWbJY1K+NTA5z+5BrJjzreSb5eX6GwOXZM/IpvNtRPhR+a87K7Q7YSANLSC6ys3cIRsw7FJfjtpRXUETy0ShxTahpyTyrvyEvsa8Cd0LM7LZspGe6zpGqpnaA7Z6WgWlfT1sde3tA6DZlp75h3o3KRDq/b/kgXHAIpDD/RDRBJNEzUOGSa2I0J2dOifUbFDWOwq+mI4Jw3mz2l58QFPr/S3B/iUpZKLYk+ecZOgkbKdFtp7QNPfnkw6eIqpCyAMb0sy2iLMOUXaFT0rSwLqVPA0Y89uJt7U7UMHKy0dahksSEdDwsIHkSXBBuDZ5IINIfMY1c21uu1h9wQMAy372JeRqg38Q5InkMNRmXhkgR3WPdV9LfBOhZSWAL3NMbbGsNsv8eqKkMfUWc+khS+VOzPfjjUcwcErcE7lmYGOwmiHcUjlathqRw7z4DXk8ajBYiW123H3smJxOhc1aw8vhlNflvS/LlA0vaF4zdWMIm8TJ/xwaa3KOnPw8N1Vbyko2WAdCSUQOJk37wXTtY1pW7TIjnmTWCT3TcLECi6cI/bNfMjQze3dMDoQnypmQquOCsi3uoD4LwEx61IChA2JPjlx/sIt4sHeppwfTMv7nwZzgG958op/XQTtmf/jdD4UohCySSW62e0QUYLnIIgRajNawJOnp3RY59TW/IbCQk6FN0LMCCkUY+rFNZkril2eOhdqDvQZyTeAuXDi4jNPVnKUzkHoRlCZ/c+89QL70yBE79P90Ht/+ooVFkpmPBOrbBEvSXxhe2GFj1vEcxEn2svMmLipPmiUCfifh0K5KWwa34+o4CPd4A/Od6snj8wzZlGvxagtxGnnSfZuZb3EUfqghtFD0a5innlCP1qD6aAU1VveYNjHQ++GQTJXrl6JjhI7IG8XJSNLzRH0OEBhOQBqtJVQqpzPPu4H6gdCtH2LvAcgRmUWIfrKvROe7juRqSaXE1assaoUe3SqpHRlthzyFcIJLeTwu/L237B/D2sG/BuBpyL19Q4AfV46+ejCxIp+zkQgu84Wkh2O4uus20drhjjMt6TfeJldZlI1uWzqIzesE7t95yP+cSmQ2Sn/sgUnDKO9BQsDV0JugtO0mzQsm6Ie53kU1L2jc006aHxXtVnicdVBNs6HylzW0eLHCEJnR0ZswKdittidtnSBoQ5rb3gI2XwVvD8s5m2GACQ8r3UmcqTp6mC/NEU/Mxky7in2CIMioAjTHEaskXkqZu63WOBtKYi53G4pNopr5JNZShcvVCm70VTxKRKE3LkVOkzA/HJN20Rrgc4F4xzPpOzybtBURhaKZIVH1aJUnFxGBi9ZRkCtlUDyDIv9gs2VV1yyYSoq0sqExunq7blwczgOaf8UF0a8yot5bQUVVnIIpkaDIOsWji61shjIC3+67MoUPQQUjhPbgHEdg==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139688333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Qgjk50sGUR1BPoUJefjrmDwNn5yJ5VIWjZFd4eH2PLgsLRex/7rnNA2qUgbrC5tHdRfubS4Jsh1YZ4Vcx0UVmuY9mLs/n2qegr6GQzakUrPIVwfIB0WXkgndcFqahGKO4b1ddGelB/BTW6naoSmuuHGBUwHEZXPWJ/GE3fm7ki3Ba2SFnHI5Nawh5E4TTs1na6akgFJrYL3QaFwhozDjCvddHB4bC72/j0qiOn9nWPfEljLVqPSc7VQaFbZ4x/7Ju6oz+UtlL3tj8iMlj9yB7nOQPJOGHO17xlid7qVjtDk6FWW/aa4F1jp1V5N56lHFRU2MSD5if0qEdbwdo8jlnxaxpkage4MjXIBfI7iEaPKLvTYbiyela1hL3s4aE739B9BLJgEiQUHvN1NQGCiL5ZFoKzRsCJI/BAwvVcTXujR+kjzHyPrA+Xe0uxd23KC+MtZ8ceMwRLnBGd2GXAX1Er4ZrDG9InW+eOUAfUneUme1ELY2RtHH92/RQg2U0fnpWojX4gMOY20kDtMV8gXghNJkrblH57QCfKeO1Ve4XE0MvkSP4+pu3lsegQQlLYAVp/BVK/p169dh+fkK7SPtM8krwOHnz7UcBoYv78llF7VoDSsyMDiEllxHAgMuW+icXRqP86Vqgb4vliJH69X6NII5jFwC/IT3iwaH/5AjwvAsCRyrc8AHlgk5yDddTP13AFLWPmhcSibp+RPXqVcg5iQQaeiYXSuVx5k4LZ3Fk74sbNCD5KEv0MNzc0MlsU43PZIBnCIETMs6mKfSie1PdA1+B9y/yGjqZPazYzmnCNn0asnofB2fOXI8UcubgC58PsPkswSnINVig3sOcnKP74+pbi62mCVQ5cYtbYA+9HRZ3WscEUXGiULMB6ILIx1dz9NRAHeIUyr7r//LA0Uqc6R2m4nSCYFib06mBe+33neA7J1G2f326TYZLHvUkpkIEZShaN+dbn3qjhKpqG4ztR4hi9OtNFKd6b8nz+13UxN0NpUhyJDDHSPFdnq8pWP9ubE1Jm+f1MZA0gSaEnrg2m32pms0L/UsdVyv4DNXRtWQbtB7wdn09CupMbtnju3TV3EJuKC2vrOZpE21giSFJ2VHVU3VmqH2RCkW+yh5PVkZGTYoJuSC+INPuK+YmR91ytFx/IASjpXBdR878NuNUXMripW+VX1fs7Wwsk7uWFfjLk2zKsbrkgJqkGw+KIdl4BWluXnEGRhGxC7v20NthtY8voFe9GyMji90NFVkMKlaxObgjyVis/uWy/ObaEdRR13kEPjyzCxDY7qjOMNwPNkAKs3eWskyj6/IeGphcyrYf/57lQeJLALAjeQOKkYj8t+uTTCxZE3KX6kAxQT3A63quZgJpA6c45C6O+r/x2dYBLQ2WZrwouWccXNy2blxzVC+gE7v8+9SWy7IyJhpkn3r0kjWYMp76OxYLWoXlNNavVEtmMvyJB8DVzooc5+yU6dfIUTgX4kyGn57CGUTbd2FBZsix89a4NaWwsFXsRPuqjOxSX+MBTxgQoBdffFhG+zFaO9LxrffYJry4xXWalev9Np7NUPD8O6sQe3wgF9KlCnRwPdZFXl4XZZE24OhS+pdG6CUNgRPxLQw9e3pWaK/PZLGIk7av0MdUn8yTDuz8W9mUazpOwKVsELznaDkRGJKyXt2Lf6Nd7JoWcpiLe1UBsDeXlniLs1nP+8OAYbciZMT7hXYi/aBRvRHvkea7M3ZTzcKSrKAzq9eoUWoc983dY/fGT171roQYCzNmFzwt2KWOwI4XS9P9YqpngX83Z1RpmnSEzcTmF/lcnhKgLwN5CUDIPNBbJlkhlgFKrw00xpASmJkbjZIEfVxlbz6tO7a4ss81vjEgT+S2jdqSgTNHi105kCHE8Dc/xXoqjntsoGCFJeCF23QCcgz7tTaum5Tp5KJdcAjmHS4K7BupCSDidg5bpD0HG4p+3+OVIZcH9sLgIWc/q2zNh9OvJmcEBMinb0m0xOPR9NEIcA8W13iBxCyjqCZoZCnUDnLOH3Xs0Fd3BBS9AdLc8tSXyFKSJDsw8u4KjRPnB76WsPoYH90QILPWQst+DpuQUbFKJcXBSOQy9ZHE605uWEirfTlbvX059lii3Y/ZCvWtHP3ZL+Bgn+2mfqHkIxkCtt8dFR+DE5o+xE8yUQuV5TeJpQ5+psofL7s8gLWr5CnPSzApAS9PHzUUrGQWHQIbqGCXQRl1n77wzBnwQnTVa9xPYF54oImuwXdvWZ0qVzb+ILYcy5Ov3lQkwe0rVaqfa+0CPcu2YeRu1wzBEcEx6whwpjsxJK/MlrjcNUDDxhs/NNBjSioyrxPpmwGTZWCsUi0t7fxUsXhieXpjMc0X4JbQelbPNwtIWLgXx/SpamHveMx8bc4/rNju5cPXDCwwmlsSp74MpKov2AbVPaC3daqlI6F5hOrAhnXJydCF3slORo/BuaHxdqaTV6w8yeobXDs2Sw5L7AA3g85UWBLwFTQ04cW1iUnzIRGljgmp6ZtC8yyY2qAokmeVbmIhd1YWxkO6jRTjzdOzgq0xOjr0fL60IcfuBCgGel2Xl5An4dIdfOKonhUW0QJLlUNssipnzO00iQKzsLEBVswrtz4ePiLF7SYdXAN6Xw0cuU8uUdxpk+sPUeTUb4zaWFgkyNM7h6xzomre+Bd0NOCSR90z560w9sZ8fSJgcLloMHZBSGmX5zsSYMpjFFpWkn7KKYzlxOJoyQ7zxCZ6fP5tGsElaBonlQyC+eX+yMnY7mLK9oVQBx706HwdQQFWebACpSppom+bXisu7g8CgkvFa87kLWKLdj+B32Cn315QLM0brjb1oLYq31J6pcIJTyrMrNuC7ie3Mjqau/wcW7QnP4Racs4lUD3xV2PuT0N+7ezAqL1DMglsP8nd/mvUojRbxpVxHmPHa5v1FEgKkKdZ3B7WNekU+Ii+cj+fpo4p37czUUkHzrwX22T+i0u2pAYnvO2Rk5HF7+fVp3kgkkUNooeVRDHA8EBVI9gcdH098VOojEGF1MuBuZTRq4RL/hNL7tk7jo+gSc7Z8mtG5SFr0DAhufn6aHNQ3xJTf+CoJ9FyjvJ7vQw/HO2+Gv5Ic5+1u+Q4/dF0D9hUp5BhVjg3PxT8DUdDXxIb3NcVrjjMp1EdIjL63HnQhdDIVxz4mDaFdGwdVrip9gqtDKT3sUrUBNi7apZM+R0Q23geQxb+tB3WGiuUW1D10CNw6cM7BvJ73iZPX6uuNdJG0Xx/U2lBbu/yKL4mpM+TQD6ZuRKyaUB0v5RRxs94eApw1WTViYv6ymBEBDX0q+VWBEbnVbQ+SfPxh1p95ctV0T1tLv7kMCSNnLicd0/0eLsAKCCnghE9/o3zDkt1nyEV6N33Lb/LQXa1vBAKdhW+qM4ajbBaK0oaEUXa2wI13dDua+D7leMBHXl8EATwV65SnacYLkOyMdkeMeP+C9c405t8SW1KthYlz+h/tq2dEOi6PS3JF9hkQ7IDBN8JIETsLs4D+w3ov5XIOekNle2PMujTrpRdJD3J7r2NEOD0BK3u6hvTDvgA2ufOnSQ26nT97iVYavt1CrvFJOaWS8fOMPDpPXp9KCsnSp/UsledxQOyA72xSsELLnqZyyGEWTouB+lpOcj7/3utWpMTxsuSBcUEF/1dRFuXBN8YKwWZ0/jrJiUrYhxGlRhXK/AxemFOVnGHBWZ3kYcJpspPS86gNqmbKrqX6xOltUCGbx+vdBv657+RUEkI8O+9yW9g5k8q/6q2yFepP8ReMcZWRrTsYX9Ne2SuiGtUG8Vk3mKbWPuMZcHKQSvp3sX7GHLru5TEsvzYh3s+ZoSFIVPAIoUoRZM5VP9EIRtuxY51lehu3Q/A0s+typHHXyefuD+BAPNbrZJK3iIBImSAc7h5Brnl5Nwd+6w+heXPkwupk5Wk4ASgeo8X3CGVSE3HjrMQinVUcSE1ZA/CwtcZoba4+zafeeWGFXHBaMyFCCyq5YCvPFttP8CmHvCiEiJo1BexN8XQR3tbt2k4MRhx5+xHcOMFcxo9bGmoDIVN2QlZW7TSCyg1zJMC1WT7j0eSBv2rt7kCRllyJ+xmyqQ5BKarFWmkNhlWImJSmIa2SLaRBylwTVK3P5nuSJ0TT1agXrZyUpYU2+vvb9rCQsx/9kk1WSaSmwS2S7XxIoCmCrRdGrymR2QcRo8nG3+nhaIhGZMW1FTCbXe8138mCq7ZyOsPzng8pj0vElS8LQehfAa8yZudQAHINCaZ25lWEhiRLKRzuL4O9UeTecNy2BZSG+56FL+rTE6cmTfX+yJA+eTQJvuhg5d69QDp4wD/XD5xHVQHqCMuViN1XKarNGXK/yFOu43rr8G+h+lMcAQRt7GMY+9uEby70t5uQPj1a5d/qmTbHMprtFEihNUPzc4fN2y6M3ywmei+sL2RmmRr8jtRNt08O1JjhQWBoUw/Mhw6QWIlTNpkgofXfkdsgrb/mmk2A7BCiBdxzdilqDwpsraA42kE+0Gw5M8Iuy3CmfoaZimbHkzAx4Gr/fuR2bJZdj/X7QQF0vEA16T4A07J+eSsK64jGPKFIWHGVRj05AiCOtyUziKSb6NxeOJxkXByX9jyguLVJW9/KNvKIV9kUb7ekBKD4wQvUoCCoPUGOCYDuHPScluos2f+8X56rXq6f0gc9dYj13PlOkYBbz/15u+x5/6ERyro4pkQHzdrjyq8CWvGdqMytTh1NT4yb98eNDlXbuOPQxYTO/Wfv/pK6CyVvQam+HTVMVcj+6PwTe0Rzy0EmH2+h1kvgyxCyudyWX79uM7Ocnixx12rlrWMuPPuVPPPTloSoYGvvwn6rOXnXAhYn1M8dRT57TxMIEVYJ9n55ITssMEJdtbsIbKrDRzA2GJsH3bl4+hB59gn7ADigOanxqJg8zvvIAh31mjffp9iI0uz84a+bbmWlNlnkGgJMKbUmdRIfeTL1vyqotS00yzGrn9SdSyashyXg4vVjeL94PISs5skauJxmrQPQztrucPjRORKdQfTqjFEBG/5zQt+J+AsySvP2nFvkKDQS//oQwDU0K8S1m45+XHmZmTHiALeHj9BH8aniJebLiPB92AepzMkYf6zUr4wUel640CxqfXddiVFX0gzMqOJ6O4VBqWbin+/6xdntI1HuiZsqjERkV8NwWawkuuzun7iTfRgxwFEmH+F9NSreQ69ceWL7xr8EvzCg678HDwAzSfPgwADbWRawLJfOOWBGSBxLCL8n5FocSAlOG1iRavXw1VTu/Fi9gy1b/vurTplmA/4WSAlQUH2Vz9WSfwIBGwpvdC5xzpFJ1AG81zNzRVa+i+1fIWk5u2YGLVQHhiPvj7zTsAJj6dBP3+EN6CqdN4jtv0wXXKrJDOHMju89c10LYVcOiZ+7Tpp3oGqUQZICX3g4Z1VIDyPO/8u7TL11bCJHe/0ow+7nR2d7A2DOB74nLi6CwOqeeE95bVQ2QmGif7PboIPyt9cOPOz7/NIhBW37mPWOqrKE3Cm+WhQZFD2m/eZ8JD4neccwN6kpooAeqrAld99Gn9EK04loE5ORlZ7tflfEpwzKOBwXCQgftB6YlxcykBcbw4ZoDbXyVVq5ITuqyJTxdH3NtbdbK6HzbO+rJ6as2K3tAUDvdGMBXFt/q58KLUMTIyn1BsD9539D6YtjCFSgw2Qb+ilf0NG0LkMjUTeiWs5BLv8N9J2hcpPJOLukGatoepa4UPwqmHL7cBvYTtJbiWxR16MuXe9Hjv+048hvk96Y0AaklSvmLc8EZ6nFucOzCTP1tjgA/oTxlz/XShzDHX+aWGU9fjGkB039T9ZDT1odABcUbOsPGtwhzUSGnyFNkgNW0LnPiGjrs32K7CYLT65QCFBtO12HefN8lNEu4bjvYJSqyIDr+Fie0u1JUuHMuGyBc5uf7Lm/opeQOR+VewS6BlCYIoFR7LktviEYYiyD6qjWpCUO/62XY741kQNdhFZ4kfrgAZJsoqT2gOCRi2fRhWZb9TxZUoaAAAJtkwbXMUV/K3MrpzAGyNQtbEPXObsdg4ewREpCE3o0kBRdovnv5DKGBAgg+Z+7dkd1a9T55GB0Oj6x6dylKE9ar7YU/XPdYS63pzqBW4xnVfpWSWtJNJxJd4efYkOxWKyPkvTF9F2UqReCQW+mJzXFNqY2ear9jIB7iW928PHZwwB/9ZwAVBTs0jWbdpdv6VKnR3oozl/ACdMzV+a2aR3iPMrONCYiL257RFXdt8EdJfScZBZ60IAbeYUe3cXItbBrLcXCMgX/v3exTzcpHyKYVlx+wBBRIxT9wAxvDOCGOdfzMsU0w47Pc0MwyTUnC/HAcjlYsS3JVz1avuTOKJ8QRfYPPb/rjbPiucXmc9GQeQBdZlJBKN8KYmYn8XNf0t2Zb6BXqU6vI/69f4Sy2ieVbjTcDeBW+/RWpEVgyTpZRQcn9KoZspJdpm0HLCl0oF1pTiduR+FUTywAFGEYNvy5AVFh85TX6FBzKoq2fc+AVIyy+0b4qZwRCqtvKPpibIoAhwK/IFrxeo+GOFs8v0tG77CZvagyHGg5vYR9e/n1CII3yW5hSEdXyCxmyL1x6wXDz2lLhNJowYZALB2mqQunyhdbDkoUlSrU6pm7f+jsR4Myzp0dQ99RoKO/YvsJK8owzIr8Ti8uAk0JV+APtQOWG0FKkLVv3tRMDye3cCS4UCnRAmGoJCNm2rTR28w6617r4WM9YtWhINiKLRSmO5XgquC7TFyt9ROppbyxRvUNRECZNjFq+REPsML5gIDPBnU4H4aj/BNIdZ7eFf6XtaMak1g21QJ4EhhFrQ/X6OxUcLK6y7LgoRJrc1eWQcrxO8ULU0q3mEc4PUmuG81kXViEW6txVymAyxk5V8fIv5jQ7lWfXStMpFlhVjFvY2yxo2ZyJFCYf8mnMc/cAF/KJhfjT02AumI4xpVpWoAbxbU4ZGNId6bd43kOgp5dxC03QHl/Navb7NUePgnbJJSstAdpWY/sd/oODA2QD1krsbo3wwgUsvtou3IDSAuWheYynjslbU1D9xVDYLx6pXqyas5cfb/vzk9ju1PDpLXn8pAgx1HxvDOgdBUNxkuSzBMfl5tBAVy2x9GMyYetDYYe4Q2T5KE8TxwXGSO4ssA9fKnrJz5Zon9DoSU2JicCjrTyoSFdpmNZQyADjonvWBMFvOhMGhevcMrME+3Sw6LW/Lzza/dNwZXRDayqZ0Z3cXNpbMz6byCNPVfmfeKt9HuY3J5x8LHh7oEjZ8WAmbQnxrK0u9E7KStTV4FuukUvi3nfKeti4A+z0yRLKi2V7M3y1rARFQ655OKlpGw6wL7mLxgDLamI0n9xmPGAleVt4FkFtmaPSWAcRMWj2m3BX6pKf72dWwzqn4WWx6dLzAjo2479WzwaOTxp9dn3Ycats9q6diAWEbH8uLv81+BuUga18/K+QKgR/a7QiXnHhu5iVl9d5v6p1FMnYfLfAeIBnDse/fIZfSWThW5U5MlGT1u1kQlM3gpVd4wvnmipU5Sno1Me247X1E+KbDTsbOM9k2UfOcT6f0Z04BzMPgLFcYe/vGzXxVJGiLs+W8ZYvqRvmwqczKACfOJzEv24QJy4Z/00vETf7DyV19XM6NPZvGfgR94x/9bd/SRFpjvyTybr/PdT8XJ37XMnKn2W4OmYsRXeKc66+XBhgKRdXAsn2M71BktPHEU4YZJl++oO/X3TCbSwDKck8OE0ziNDV5loKzq2YIREkWlkgNRnY43xgak8eqsXbIVRiqf/9ZHkM+JBwDQHVlTPwlROD6JWr63Nk7I6fZvBHCn4jWTP49SDugv6uHukV71o/QQ7MliENBaHDXHN7SywIcEjxorkzZ9CEChis/m7doe/ne7mM/B7Xl+mZFhl7hmNI63d4F1ypfC8f5S5asEA3B+odSFAmIrGpZbpL3gw+de1IXzdtvVWksOLjo+6BZJy2IR+7eL7xcVpmu5tbWGHqLicl1Kzir+C/ylb0BR0wCqm4H/yvYV/KLJp3IRqUx++FucPzAgpt8DfFuB3wJZeYnR4x3448p+WZpp8VqotUd+Fi/Ky2LzMNjS3y4cQ5AZBe9iRxbo63R5zaglI0PZ7hqX4j2qjy4mELfEmyiu6k6g3FmEUFDO65S3syStbXusCfk2eLY5F85bA4JKUcAGfCQbSjGMOfDXO9DAkxeCCB36Z2l3vNm8igzXvS4emIhVrnCP10+79mz/AmEiStxYQ7tIFFdWFxyCw5mqGgBiQsSuODr9NgAPrjzw9fnTRpevNZRNpN86boEGVJzTH0a9SHmR9lfv5EaP73XJIXLwISxi2/JjKFP8dT214DK6ogxxhnh7L59/VeQ7A0X7H8tG8jICEQaDt/u7z/tr+4oUTW7BZ1Amyq0iLHxyuevpqtIBnmN7aN1Z4bglznzAeSzgDBW7KelK5jxxE/o5oGEnBeV6fqMo1xQfx0TPewRKmiUHHO+LhJKXFeKdiDQdXYRBcC6p/8amWKtfvZELlTivL8s5wXOAkE6k7nS1Vy2ZA2PEIJ+noOF5WBaK9vkn8zVslCTw2wzGfYjJrURDdYAiYp48y0MYD3ohO4qAqQNTCHi7if1uuOL4ueh7nQEYo37S8S1VTEWxKg9lsj2OHZLbGJpozOyBbfx7pPqvizUj4KpIvJ5S1PJz5jWVpwS0k95iGdXY+gelMLf1EGAyYVkO548XDxK+tE4+IoTmZo8doyBW7ECu9yxvSXyvklIcs15EBdzFd4rsIxrHEYI0668eYM91z9etiEqUIs8TgWDITWBQZHWnMH9TKSqCR95nvVpDwxhZKrLxxteqwx1ujguLUvKq0Q5BcYniB+qYzXg6wBCeVW/sOxEqtUYegsDKySn44Hu2wA9T/SDoET7pSpT1qeXc104uwYxVkub4KiUVvOAJsq7G9nu+LMv74/LcKlV66pDpCsLO0OKYUqQy8b0UxhxtqeH8/ajdLQ7IIY3TIj4opkQvo3GwEhPEt7gttpJ3RZjMLzk1sGkYtsIiJCHKmc0Lxh6s2oqGZLgQdUUWapNsFiO6W2LV0RumOOzBvE/D6pi+kjm0YuhXq1npDtN7HGHabp26YstiFefbUCB04SQ+/6TjSNECrrqYk/cKDxaqjPfMvItuUfzOO4OVNLweLsKKs/ZY4yB286CBMP8k7l19eFlY4FR91JwrXDlWcbYDRLoyl97K8tOQUJ31JUKFSDHz1irAxfWH0lGzqZ2BaN+5/d5jpCARobu6oBYMQ5RfkX7dtHAA+wZhKpKF0EGlr+2+ycqG+9won0WUnp/gvyWrXA3gSTXJvMIAwKYAqyQnQRy2PlHbkmzEt8aC3x0sZDozjfPFa8ejtrbHOaRtsDDcJV6hRAv5jCTqLqUwhOELgep47LU033x6BfdWZyRn0TkvRGQHreMq/lZ9nXPkJCswL20H4Jtx1U8eHJ96oriigC5ixtagu5y7RqJORNJ4Fs24//QZT/PnI777CFKjvOB84ur4qyo2fgD+65Ubjd8eXHzEwSp4CvQ+Us2PphovziIOpLJhqgBnzqJq7pnrjgRVeBCpiYFQWKpX2aKrDphukMSmQYnC0qc4g+gba3tN9pGV84hHEmOXo4Zcff8eWHbp9jGDIaErhkfhMcwfL7aqCmiQYPaLC+M72sXR85DtAWL3aJ7EPhz+mAmvAKTBJGhNetAeHktrKCf5tXAULVGuR69uQxLgCSxLg+HeM+vnIj0Oz2jt7CubebMrp0dZ6CbVf6RXAxPA+2uE146VzAsnp6V/CSecLPjvO2fHJyebanpwrpOqIdkCDWt1phPiaWj8rmLelAAiasK3TU3tvWwkn0eEkQj2JVwAml3Ph9uJuQ7209ro9L4ctmn9uQpngXQ92af8GfPtGlGlrsas9mHxYYmGsYrXevWFji83yyg69P959E8Kdthwmc+SSR6V2gFnWChfv8ns8SvNfg87NQ4VOIDvktXEfBalD4O5XLFtet0QqtJ8EXjH6G3ynvCWZFhEtqKkr+lrydcrRd2AVRDT18jEI1gVCaJR9EfQ16UCwihia/9E84mKNXIjSYdVwQf7YrsE5H4bJFsQI+sI7imNt+RlxgihNNmcgQ0kquVtyKT28H58SmIZPdRst6eegF9XyPykL4S89BA53/YePMxNqyp2kacJAkOQ3F8XTC5tSmzX1EyEM71Sy62bOZTN4BPMKbYvKojnLKsZluRxY8/6LF2QybXNiKEvc2wFhD1fEwzfRDULk4W3INgWSLRJMKWlw6Sc+g5tjgC4ooobf7muLfq/mtBIQoEmgxVSQnD3MIKylzDP0lKIyzqoNMyRLqxHjrjx6cvgdOTsYVtVI4ezwqPQdYDVTpTclE2h9ljWW/HlBecIvPFRaizgzKXSvDquW3uQQZtoDA3EpNlOJEei+xUXVheC6cuNTvu9EU1SeZX91DaYmh182trtSaNjBsK74XaFQ3JnAcOiKJSZivv6EghzwnAUPfhnsZtwdOf3D7RAL9tisyHjxN61B5TJtxkJXrwRdwyik+baRPQ0BIWi7qJDWnj98CrRx5UhUN3OhBhj5e/pch1k1qxB/sB6Sji7gRn8K7M6pNgwSB87CXxdwyS9T1IG3KZ/Z78jUCmNNnmwAVMwJi3zX61fpzvwa5YMJz43gS4cebDhc+Spq4B6qNEZSAwdUcqwLwTeniMk89I3axkZMemZ8T8t2fcHbb/8eajwSoArbglFa1NtHjPqyphGpWmuwXZaHndLrauoCJ8r8ofD+/aF1mtpCBJVYXTT8lHqM3L6ZSkKd+HdasW6u4ILyx8+M1PdeKXDELsQ74XO323wHY1zRysa2LIRjAdC6APl4WbBbU2RllC6dc3eTvptQ2xP1NcM/kxdi3boSfkLqBENOfDrAljLlROUMOgXPGSlRFHc0BjLJG1/YJ+XfNhwD1ewGadGoc5tdn1571hOnoMvxcTM25ru9X4DG1B/ug8uTQs1TNCF/iy4nra/sknDrAvY/GhBWKaT7Rs3msjVb6MVY/xFdEhDY0xopNxuU3tRTDU+kDYErZ9zv7tH0qwOUfC66bwdfqxTBrMGbBCyx2cpfwuJcCToNBeWLnf0gmj5lShUGej2izAxQ+3XEYv34y3EvCTdXZTlXLzYbUNMUozI9LPLWXKjhVV/GBgRIEKlyJuTQ8yOk8Fe+/7ucENP9QlA8Ui2cQxFvP2/mI6H1oUCUXlamIoY+3y5IyqIqX9fibkC9yuQ+uxiUjiFrkG9KxFpZ6umzV0+O0mpZDhFwY5UAWLtjaVLPn0/XUF4iWZZKjdB7dgcnmqL3hcgaKeW8kPzE/cxQAqAasKBf7D89XUrE/vUTMgFBvmVaqZQUN3UTikt6QwhR7cQgJC6kB1SkJVwHLlUSBKJhgpAoprV03gbVNMjTGkg+7GR+xr7iPmF0uElnGf1QXezDPYSsY7GVbUPvqVCd8ZhAyEwpZ+5yf72CSGZ+yGaaZWyqkebPwYm3mIs6NysVa6hiCoXMWeVeNSxCT/dMpmA5wbWt9tyBwimyQUAQg0JCVwPcaCd4PlOPSdifgQi39py/paDMMU55N98dBgs4FMu2rpeP13HHH2/NNZMeXh+SKFucHduvMG/Cy3yyxWgtgKkZKPoRf+RdwVA0HBXTPnyd2G1VHrKbDSvxpfk3rUIt79+IuzOcU75k/RUfaSvdciPwp6B1/acyBfzMZzNGSzZCoYP9dhoVj50aY11ZAnY87M5bLdLkPb4bZSKPQ8VNDS6PPyOIdIX5i2R9DltG5ZioVDLT+Zb5mTuVufuV7ZTFNghCLd2lkwIduWreXsolTvwX7w3nxKVl3b7OwWzfx8J/j5J2Maba69lW3W3KRzmLlCbP4cULtDzpOAvJIM/znuAaD/HSvqjDMY4zT920X3CAKIBVwOGkU7PKLfsdw09Xc38HZUVYUGYVpO7pIA7Qdy9ZClfW7wbMEd38QhQiGl6F/o5H3GRxEc4B0nWoe8Us5Dqx8xrfqTTMmrIlsBABW/kzDW6X2sBqqG2H4zlMHiar2KHqeXPUe2YgmaESUOdonLSlWHbg+a75xmdOwcyaPvHlA1W13Y7XPd9Z9tNqdK7nI/l+j+eeJamJRZz7U8PkiX86grAErqfxFakJKy8RO/fhU5yNHUpdDDlB2YC9IkvyhYab8qgni6JcaPuxfPB80FS8ywSM4BRR7mbaHyV/RbqTPfvxkjyQWn8JebMDAJPv9oVtu6HxrYNFzIseflJC7tMkJ7dFdGigDA61BAv2Jb3/atdNAi7MRCV0kCJRfO2+HgEPyl4EqDrhJfPpRnJ8AmotW7JdMciMhYzi0pKdwmaq+ZqhU3jfCD2WALeeifsNALLpLzJO59CL3dldFavylnz80kW/Nn+401/YYoXWaC82l+iFjtKbxwhNdmJOLK4bGi61YE7Qw/jHcw5SOfuA3p0txtjOaeYa09FFhNxJ8NVc4nkqaHjxLWOnooNktYjvwrMvYLrpiqLBI6Ogt1gnJVVqHwDtDuQZWLRdpjdeX0iFrsBtGExvRe9dUEFey13Ggp4tcCrch9VrvKxg3cvu7lWVseBkxR8k46iIvqvQS2vtAIWDcxaherLC+/lUfHq9xw7szuJP5iZE3jjli+hZRaQpfEM/WzwhLLDX2E4WnOFQx1+/50RpgspmT2oB8hTlj2QIWoZZayI/X7QB8vDENfQ6eijTzf0xz3+1F/Nmr2e3Ldxf8WOcCAhezogp7oiBE2isBGVa1BzzRv7e5/x4zxcF09O4qYZOIHNmVqu6W3bAtaohrItR8NLg8uUevTburm6qjnLY8yLRgv/cr99er6ZRL32yhp5yoBPCl77HoXM8LHY2Z3uG+6VQHxVET1M+2YkPenYTy+IEqRJOK+WXHBpi04ZMpHr9Ywiq6c7uefOH5NRcF6DdCYCmkqcx2GETkDV/YwmNXcAfilbQzyI0+t/LvYJic6kME+rMKIY5lxlmK7Ch6SlWTxHOS23hEOrgZd3Pkzt7Xxwvl7sd2ZfQ4QZ2CGKmIlyYVhRlIMEuYo6ljQnIvjnKhANjsWIZTBylRlwXQRPpnRg0+6UkUjKbJhYvefJCiw24xUDxnKsK0Q8zuE0IEe/RbHPgp5VMAGF8YezyyqXCvuSKP8SmuRZ7PWqIlXerK/hxolWBMahTx+CP730x3kQ07ZI9l9wXggo6SwBjPzrX6ul7znElTaidOyjH2zuPQu4H7o9PkEc8OZeQqmBK+wNyW8FqjV4tNLnovyslseVpjyVdOnsAn9Ts/olBk6PynTft67xd0UTC1kx+84lvV+CmDwBU5AOhbVm5oI6ciY0AOHpNjl2CyduODVJ66AfSILT/CGtTH22UK7b3A9S5Jlo3z92lvNzmUGxF/IhF3fCumwJCjugs0cvJ/wUQ8uclB75CiPJtGVU9T8i9AjOzI0hch2Yob+R2peA+cAY/a11PPBOyfhY5UpWgUv7N2xjL8v0ddrnH78jrK5pNQhGX6+CTZWrNBfO42cg5w+BagflBOZ9PvzssrNveLYpYOXjPfUULIMRHmmQ6yt9lvD4ZFFkp90x6+aLr7wAnqReJvg295qVOmMAbr9jrUTqYKJFPUxtaIKkr/yERbctIDnjCgZqDEwJk5OSrntZAJJY5eUptwmf5bg69hoObcCOvkZvMd3l8q7zg7PiG/plrIUobtoa3GoaivbXOC9jiqRtoNdicG0Rx9TdR1nT0v2sPNljmYzkiKIGigXfH32GiJthk/DNCjwVdyEGnOEdQHMlMn1ugrkJMFMphq1Bzgbh1kyhJ8ueWA46siCKz6Gg81ASAS87NfXgME98IhBhtFv+BmdRxBAgg06t5xSjup3yR00VSd2VUfkyN3M0EjopFMUkir0nqFQBvLpL6aMYhUGjteVRU9jC5m986xx39Qp+coiUGN61P99aKqDdfZbUlCeNVE+KVGGyHQsd54GbFrqVpjYeONTuUV7VvmUc/zR3e4glxTkZVFL9bAKrVkI30w6yqt2pI6dhkQxI32I2uLcQfnqYj19xOfJscIPzhIKD5LTB2KzKi0L0Bo9yL/c9b9+BDfwoaKFXLMam8fUzL4mytAiXRoJWFLGvmk7s+HxK1coS7midMfxl0nuVmXP4bJA08yEMRG3Pt7AL0LkUevBzqFGlQrRMPMz2J+VtezwhBhpKKrvnosdnJUwTCkf4mBQKom+0pC+4nqi5T1MdE6qxyssJhmzjXZ8WXMHdmCg0qo1DMM1Vfx3tqZD+Ll8uAgpw/K84NfCFxIjqYIbgnMtkGFZ3Wq8mlVAU1YgUexhUmk8lpVFtcDNNdBZuFfvEgRIQ9HzbK6uba3x7rvKdi2SJa4/ZCdzsa26nxj0Pv+x6lEWE8PvpM4bhE1gL3F9IJYD+3KQevtxu3vYMpAW1iX5w2GirIcpwYiC8D+nijLtPRltFM7HQRpWVZkYExcflx0/UxKaYEf38eEHukp7NLhnJ2Muz2MUsuqD53lk87+BWIA0XWAZMZFE/rC3DFRrqsXEN7XHaK0jgIZ6SPM4ovfY2PhrXhr3tJalvqNYjxkHdV7DlX7rpCIqJ0n7LkIGaAHYnsHdL74R6Suqc1w5dTuKVj5T/n9HXzzctV4nstfGhyZZWF32f1MWSQBqRuouccTeTqR9RTkahYjPrQesYzyfEUqFGrwalGVBTl8GyLjHuyMxY1FK0l/S0FGBXiQR6i4CU4s7t/h/0KJmHpdbyNIZRMpd4lDmbrk9EBbwB7l43Cdr2Vzq2LaOwVlfHsc5KR6PBAuL9y6KjAX7Cqh4p7Cr26Gy/QluO7Kiie+NcvPYlvRTGHddX6g1Tt1ctjyfmzQ2IMKevrkGyNg0d1M6YYdAWfFfx/DikPsa8g2dS+46B96vsIlDAmpYnBjeCv+oxCEVIYAXSZ04wuBoXqROytAsUfAGoDo4Ed1whWMOyB+pAJVP0FdYNjpSlrpXOwWeVn5pWu31A+NMFZBJtPiCNURHLQiaaQjvTChh4VOblk/kbaPUO1SCxRVonOkDXuVfPiXThUy7Nqtc8Cjd61tkrpCu0x8xPyRk9Tqr68aOaOaWDJ4G5OwTEHsKNOaGwpndWivPIXIcDuZbIDvx0oQgemk7xHwZ0MqRqqZyt5qAioV8apVltd+O0k2X7lr3xU3HPmo0Qcdk89SQ+j9HNbfcY+Lf3UabQPyHAthABIlhNXXXR5BKURcBNtAkNRw6ySfJMX6N4CZU7WBGiooP02T3+IUYueaXj4ezxhluunNJZqEMkys5HVyB1KN3S7xZwjh14jRYbVpYN75qjugkHlEANequR+DuUdN5dSqmveq9nc/Xbh7uW/hVysNtfCKQX6nISGLGJgG7elUjQhQB8u8kqg2/2fOZyqpyBytw6GId9+l2vaguMPaTPtyxsncXT4doS/QnRAcb/1BqZ8k6nKB+lmtelxPwwsiEjbOZqqNRIRSbp4h3XhOcUFvZt/HFRU1jMCsCDOe3d2tGVS49YpELZYHBqr4ExlAzuU0IU7MzVjpoHcKc8cxRbP76U/dP7wH0ONGORWaAjzXtj5OQBPKJ9kAOsnBLL+QUqK1KlyTdIQwxZhvlXGsplJIxLU0A4ke8v9o3vepV/9Hjf8eqAiZ7wEAliClyPJXaEdr7NQGSnEpleeO7fkzvBj97nVcaY3HDV5tCF88gsNikpIg1pXZc2MmoAPW8ATUU3p8JNm8ofVHsOByMPexMmsajEFXcLj1RpyvaFLtl5iOMEd/ulWDJgtH6NV8iJ6ixXsTQlFZ/KUN3mx/7mOe+MC0y16L/3wUJTDq1I6biEPL8Ldlwn0dsmsC55rukTpzhaVRcPgrKv53HehGyaVzEKPmHEeovV3pbLF+lJWIQ2VDQNNd9q4GV1VzeEB/pW/y9GeXBdahWJtG0f7JZ/nzG9PYAqpTIGaPYRnxOfJFa09O62okvJcuN+t2D5P9nQJ0kJKyW+8q0UCcpcbWX35/h95bf7MX9Dc90+ax7QFSqOvinzUQmrFDTKnP2L4rl5ofHmcl35hcnEw8jJjjscHCV5ia6/nLSQQtdO8LbeqaedbDJli3C3NNcHhp9YBVI39CO9AEvSFry+X+zO6VfDczIXg3eJ6D9v1OVFbSNHBK/rXU+GLqQ/bY2MQL78u4KOxQhIRaRqVEcPGqJgKsoBxv9yoSeKKd4YGbDYR+xRdbcu/wM4v47eVdyHb7vPmYeiYmprR6z8sYIbXl1BgYby0qrStrN8rr+LqruGrZdtsmx3gdoQdSsbww5Nt1KpCRcr5ImLt8r0bH3tcho0qH3BhqvKBljR6xR//diwvfvdlCmUxFh/t9+6FlTRd3wDC0sDRaYMNsgDjk4NNx4ZfUKYcbSs+UIMrBgZvWaRY1t11fNbo8gIvlVnAisZvJTjJR4XKAW+KeN61b0prFJrI03pjHT41ddYcII6zQRBahYKK2iZwijvXcRg8aJQojTUm6vFBBgA/LHRIZw6rNuGp8Vplm+1JmHBSJkbpwBaWLhdrcUadVCUW2T7GsQt7uV95/vDCNbeAIEFrX6KECDSbtx+riNOoAwRjwofZzqTFqrFp6DSg7TK8LWBlyI16aui3ZiM+S1vr08brZ6qSTE58UfjLWV80yh0KdH/XqAd2G8qSe5MUTko69CuglaveWy3azq2lEqRtaagtxcBxQRCAVx7uKi2pT7nvrD35xUbcS3Y3W7aHVRBuNGCoLbHhPhgryvQuKiZpOm9fzBsLlfPbCiFSJvdHEVpLAj0d8tO+4vW9EQ7ivrGMHORQJqk9ULPlkh+62009gRHl1mWhIac3OdZyrpVd2ybbHjUCZpHSeyFQlM7gNQaoFQlHRfUpNf6OTFP+TuEpyCfMg8+ZRj0LrPiz2lLzsBEMzOy02cFocw7viVOS3ruOgvfRaeu+OK9bDlqVcB97ofVxgeI5/nbhcMBxwf7zshKqRqbeVmVBSSH+IYuD5+t3aePSN1SvdQ7bZfqfPX3OWb2eNNH8MZdJEknx5uAchdv8igWTK96BlTfAU74TFd8BCDeP93MC6t3oRnl+8G1a7gep7ADR1iBNGB4Mqu6d0CE0EXY9nUBaOqZ3hwnUe5VMpvl/Y4OUPtC309Wql30cpq1QVySE3D7KCQCW6YXwJm3lTWqXLkmKeuQ7fxVUt7lq4bXsvPExqlSIrGUCaljO3G5fqTN6aZuCv3fBCjT9At+m3TmJuOa436qWZYz+b+7a9xxH4jOnMI3UNXhWwC/8Yh81WLK75KfNkFtw+YnBvhoCwcRO4wduYKmkjgtwugroIfqonj04OrqkojvBI9Kv3DRN62yOztW8m1FXz2ZqLDXG5Knrgp94eDz6f2KUD9XKt5wr83LjFIvFYAYKOsqPsNYHAYugBQ+XVtQelHsUHEltpe4MCvRGJiFeBDCv+gGGAxNN9s4PNXT7IInkVDwIZbarHvt9l+ufF8KEHV1HVn35DIMiZGkncyIagQ5QFGQSsemadayHOPm2cy4VTidFB0nBB57cO0lqdEay8vBdP5Dfoxt7f5tvNI9j9ZNH7UYphbjwCj+PAdcEHljKuRAbpA2/cBoKfSKE21zvXKWQTWEbGHH3oPdBQcC1PkwNBDC08xZgDXRjJf7pyGt0NP4zHoXisoRni3OJjTZm47JxQCGfFMDffRJHBX/OPW9ymW+qA73Ude62TV2Wnx8W1xpXNKby3itglVZBmgl78OYWh3rxEEnNdLix57LU1fGNTXGZJOomoAsvlLE0V0HCYbTv8PSHka1hS4+LjOy38JnAuVq6Eg08SYU7HWRb7XPVg7lgj7ZgZ6AEP89C07loowPn0Zvivah15tQ2x+M0D47tx8O9ag13L6gBryowtc56nweyKUbZB0w/3dvIwrJiyB35HQQgp+TkyX5q8nVBzclPMYC7djlBhFzErxunNa/W3ydRPAWeT3YnBe+DavUwcZrrEAfdH4d+7XadSE6Ccd15I1o6+5jhNhu+3vP1KZ44GPCjUrIAjziAluC3D1VkQHwIw0rYA4EkCoq9Y1oFvaxNFPbSC3L4Ns523Ys05Y/iXeoOuw8uWJV5faPeSi4cCzMPnsifS6Sitw8yksbNa/csM83q81PGBX8vRgbqgwN/2qrceIEmWqroouC/z780mKpkx4sJ7z4MRChANejSVAO3U1CnnVBrwo0pw8w9cXwbi28JAx0UoSWIlIyqJqcQz+lrLjmglpyRld//2QtgebzhI+newaoPm2bgKfeOkEvH+Cd+CHtpyJu1slFpAQQMGeQtbc4quprEtga0luuAF80AZbxP9EsyfQgA6HivxNdgMu8aysNIq5Rq2xa8wrLBSGGiex2XXnMPjfWGjEQkU48SpLzq9lpkkajkdSUvtvaQI4fU+ld7kgfjEJ32XRYi4DKUzkF98qv5bioAfkbqjJmgrRfuKQ0hyKeiMSpdtLyJhJ6jjUmKNHufnqgIR9IuRELDRlMAlsl3YWvW8JzHGphgbx6Bns3BVt1kFbnCeTA8SwxSjX/wSOGM1ScXHw2fT3bH1ZvBXn+zbas6S1QMYIj0yJ85FaU/RkKoVwVZzgi5ELhxypKVUnMD8uClBSMYpSQ4UrIRfHb6nxxWSTHej2C8WR6H0qReSPHWGefr65MysEljfJerEntJGaJL+b4+sGYIDPr2v+5D8narNtksOlIUn4AmfZhs/SaaNKJ9XjEFNN61XzWcQ+QeiiZDVTVnWDGJdxZps7SkmDV8iOdqa9X+QA1Vp8x6xv3CWe7djmFo3zwSNp7hoL5JY3nm5KWq8JIFW0rjtjl4LDGCOvXNpLVn32XoNJ+9atjtmWXJgjI85swooP0y1/NFSNjfCx1zsnG0M98i2HOyznAx1RT6dhewrnUABGyrQGkSFchzuFYgsuTfxdgV5WTGPlAtIbORTpIxaxFvHYrIM1BY98zSQpVCLDzL9YMUTCB56F+tumb7OnFOytGiGMOK8ESYxjwfSuv7BCQlpaZqJOolGppcyiayQq1RvM648n83dHBcLKH30QB1H/D6C2k78xe1FbJNMXWp+GMjyJ2WE/NHpl6Yst7OUsLW1ePRQ8VEiN2QiwLfNEKAuRA2PHkzt7DxvErJl01WDGLCT343qvkyldJDS34IK6vh1MCAnz0lqVKnvpF+y/3hokDRwI0811hHLJheT54bits8tfqWCPkT2RXhNkW9EZ3f0PkqF8+xbH6UpGZgSLgTIgG6Sd5OwygZnvLkx6BHAcDUdu+ICvLC7rQDr+FG8toQjxcu7Qa9JpB1toD+7KBqqLMXBG+FHtkwRUFZVmxLY1MfIpVWA4xS+CBZsiikYy4TAcfGobmaWTsFxelnciZtYlvrVwT9ijSugWWbwz1RcNKM2B04HbAcLLrUlcfuV1Rnz5DtpW/aWhLSsbH5Exolnxa+mMJI+EeqoNjhpIijF86joMOU98x2VO99A3yX4seUqJNZK7JJ4wjbic5DgPhvQ4edAB4xlAPuI1wgpZgz4pH/Jm8c4bUzE3hMoZVTyOAAU4ATvS7qIANu5FY5X9Lk48AeWD4KdKjZ4Ate7/Azlh0Uy6tE88Y03Qi5O28ywhsy8gkJ4DWVtbZLHo4DMWLNi+dHiyTndp69cXVzq1hVI3tu7HpJCN244fdW/17LCTNYYrLMQusK1aCfF6praJORDmSXDO0E27GM37c2xQ7eMT1hC9h4utb6fXoDNYqU6/sHtJRjwdFyEM5JYlmzdlW5XUVdpqQtC+2C/k+NvLTLyvsYHhP7oR78xlrj4XmoDtey3Ybo7KwlF5o7yLPhO5sSmFB0VnfxYLH3gdIn3ubth5QrW/+Y2A+9BOLUSdkGQcToFSql4raB9eS8mKl96mALEMhJME6rw/s0Rtv22T0ViN6JSdke2Rouey2neSSlk97AVcIClU5rCJKVQFPUomqKXztnuruKJbBztZpYWfOB6cQMQafDmR78/OBP1anUdqHhBF1bO7H4hGAiNXdoOzBM5joszpdgJskX/AF9F8GWg6ssJ2upyjbm4YNvAayWXr9K/HFymV4AaaZsT7QQWWRFcMDxdhJglp3LaKBWgZRihf/1ahnOHcNcb2RfaJSOI7RZvMCuyF8FlGxkfO0KG0N0quie4R/0rK9yL7lgLWZGKUbt071HjUkvPAOh6GFiTypoMBAyFO/WpC+e9zf1cetR0irwmsT2De1DVMfLeriVOy8at1pYStOial1Y3HpM0THAMjv8mfHZ1zhOnyHc4zTGnVcLXrnIuyyYEthFpUiC7/HzINP9iMlm4ZNr5v/tGXyuQLU5C7sESku4qXvGsZbHZ6VMmEEzuTFlDsnayS94UKHmw0sMX7+6orVmm6XOQphIzj/h0wHxpBQ/oWeksv9n2BFRq94Y2g8WNyjCpmK+ck6LEB2Odee5WpuubX2c2taGBmHezA1f9Uos5ZVHFTaklWyLKXFyN3PeGprh14Fnx+a4odtArKoSIyTapA+oue6LsH0dO5vJ9FqO8OqQRnMPX1Z9j1wkjP0cK43Ss8Ki6Y1HEMM89gTZWI5luPdiZh9Vu27fK9WEBxFIotdouEJjPzChpShBIexz32lSE89COXpU3uO1NnPcXAETLOZnmpthjjoiHQv3PfQoTI0JgtWg1TDcm4hhR7bL4qwEv1RnDr2hbS3pGQlFT44E71xpQdju3acrXOWduoX16VAzhxr4MqAOtobBLLbhW7fHnFdaBdlp++ccz6ib/S/5OPb6eRFdZuv5LveiGUYzyuBXEfhG/p25HZvvulnkt4qKLSftvIRuuba4C50joTpQf7X1AbF1YPRwmOJr4amppUlH+z1tjz2UEi0QAA/2jz6JLiixRF2XmrBH8lHWv2Avcy+S4fBCyq5S2hmHLYIiytIJi79HkFlnBOdsAeG1JLkfTkp6lgVIrVuHHWHUwsNUWYhvLQAxXG4s17Y/9YU92Zyg4s3BaTgJW0BmZutlrybboo6OVfyuLGMkJ92z5lzl3WbjZ6ILa10Ov//4yjNGnC/NIcP84Fgolo7UxYfvvHDjiCnvJy3wukfopVpgsA4Qeh+CsHUB+krHbRo2cPejFvhBC5kzghKG8B5VI3Cw/R5u+KNMXiuCRAKsB7/JGgwWKxe3OFLWdmV8Bb+J5BY9dfEn+fFJroJkwfL44XQXJ8zVFd33PQbSM4gPMKBQ8+JiEvKEGSUfTMIUEbSx4Y4Fug3CwZFXJBMI1Juv/tqCYxQy5KkcOyNG3EmNsOMoRqmYOa/IYOjhIo7odajAVWCKexOMYTDZd01ImHL3Sm/3011OhxhfjR4YAU07j1ut5fWUWgj/le9wVB9MUrlUMwiDgJRvg/9xC4Yy4vXipJnPrG93KhE+OlmXYvMS2A5Dv3yJt+rwd+MrpWz1Um+RdArk5uBmc5ORACQ5BsKx0XMmTM/D51xf8lvhIZRhcgAwoBy/TTFYw61fZ5AAaBuP6ZTGqd2Z4zfRN8qfEs3f1ZnaqhKxcMSK9vHHJBYbfp+bz1V2Vl1o7RlAnZrA0Yc3wRNLSv469XvKQdaxl6RDMjavLvxsl6YTWWBcYyu+/HAM+DnHLmFGqvzJ+1NgQQV7WrIpBCOWuxlGm5xzQMy4L9FVIC+cbhIgoluOMAmhnWE2TpVcU6DyoI1hYcxPP0+ALITOJ3HTSaUEp0j6LL8o9vbPlN7UegB4KuBiuhWJ03W2TMlbtvw9BaXusxdo/un37g9T7+6CMJTd+xICzZGijiHIuqWUk/FwdJ7G72hjOuqkIisk6ZGBlLEAV5bdl1AdK2po4ITpc4Q9zGcyytRyxGboxSO5t7UdPZ7tRkZTSZAO4O/iQlKzY9jnOg1BHmVXKNlky4pD5OutQhm42Cx7Rtas0LqQNq+4cDrLptcrnYe+djPalzdpmTjOPsO8OxtwDzrWPdfuw/UIzrP4kPO2gHkJzwOclAWhHTApaEs5G0JFbrjVya9XEFKmWh6hhiw5vbcngZAIzzxVSI8pHu9zxOb2uZsdHaqGfn/LXwTKkTkmLOSdBBq9XmHZi7cQxT1YvVG8Fsc7kPipV18bwZE+/TSSBWMCUWaAu/gu2z/NCoBcv3SLQ4HdX675q64fXZie/eZtiAI+Lwr4qboHkCkcrmx/gXxNQjb3LGKxt5Jy4YEWox4KQj+zOtf1kGaHTZAN/ocjow3ns6tKJOPnt7afLHf5HC/uUtjsIWBFQBfKI36coAZfkGwyqTOgEZL8y2ISSN2ZYnOQEW+mKLwTc/Np8QbLAKg6H+gl2O3DOfWcjR+2EhKaeDxL6fueaI5XdmJRcavv9V5XPLtOV9O0cYX56pqJGVQSwChMULW2ffOU2OdhmEWpGuMax/FM7gHKpOqeTAeLdWS4mIUYasZ4jM1Jr6XGEpBLBdC3SXwybj25QrZfokT+Vpm4Oe72GQ4YWMmsEmp4ddmh7XdDmmRVZ0jvFhqstkq22F8+Sgt7IaiY/2UnVdnwcbmGNcm1EbZlTshsZD2EuKY5fCiEvGYgMZFVn+5mCozFiGtl/W212dnTTAa9lSsaHH0/C4B4OCcGBgn8fnJMZ+powB4SIjZGWa48Le/sH3Tw97Dv4CvT/Fin8G4jAEn3F+uksGecXcAb50U5+1sD2OS/evzAT24ycPD97rWvH5k4oi3PS1pQAOXQzoshPVl3K/lznbqup0A30Uqa0KrptH8zZcfiRHT7gNTAVK1dOowJN3bGyHF/Ct5rRB5Fu3tEzXihxJnEy2Xwelt/XwdXrVhjXge6qfGJJQOYC74N1O5p61TyHdboQ3EjmQ6zJHkn5UG44JS1DMdNkqGnI2aYw5F8klTDv4VJVUHnKB8tGitANstprrN08bj4E9WEoxRjrhd15qg8rpqiS829Ba4p/64FC3S/tlRoHBOUcVPvh5VaX2CDQcZ/GGDW8+QBnqDpNqhzvQ6wdhpMZL7bImmO5n1yG1y4gYs1s1NgFk+0REfmSP/UIl5nB0CFnMYB4gtb1eW61wzcAN7ZATWRZc0wNWuil49vaed+X+HfVsg8wouWjuE/JYYmuRMed2h77QFZ3Hk3L6Dd1oAcqRa7ADw9huZnF5NcnVN2Y8GeckfEQXi0wsxO8d6lLvvcjPE6vxWxzuE1Y8G0aLP5J2bC+FX35gKOGxzJIgO1VOr7B3eK/A4jx2xMsTc+4XJrRPym23phw91QEltcajfwdelY6oikwydxP0r9rwyxW7ADTdn6DC+6qkpayQJpaDXSjhQoCcw4ibqwmRHu2oUAjXAzRljNpDzklZkzchfMIdqfOfl7rSmXpnlapQAhkkjW0ajWsQMvlUeyXNtd5aJTxPZhlk2Zw1L/YgK17CeYexOofFvvUJFzwWe0zUdahmq5Hc6CpHG3NpjhYONrMMwhRGtj50snzAGlxMMEugAJNh5bV0/z4knf/08Nu7zaNKRRaCdepleadLjQIb3jThc7Zc01PPBSxEkbko6ewgKFvNWSmtBqaPA1Wvbo/ozzFFHWzfKuoau5WprizL1wdzr73LsratPoFNtmcM7wO9GWi2ou1MzMtxR0UmdMwL4if1rq3FmYbOVIk/bFJV8XGcmMs/dCbnQ68ywshpHVQyXAIXmRPJp4XNHRXuhtTb5MmETfuoxbYJEBzjOi0m9KFSv23JCzj+BFnviOalclfd3VzYw1V/sX/SFeESvXvDjTa0a3EUEgwVJjlD87g+Rykj1C3lgkEwbmLg6ghRfkE+nUict61OiJEENUox9xm6JYFgfCCOPABgjAvaEWA+v5Zt5ejLu+5zbOhvOUoYnVbP98QXuaYuKfglms/lWhWyAGnfVjbZK7rB8PpkmrJarJd/pnbyw0ZW43pAh9hXYP3KH6kHWnfLc3rrGhTtn0jgLYrOSaqHDF87+YnHPMnB/+vngK5tt+LNCIebFSNNTd/B70ypxJIu/PtFI/yitQUafIAs6sy6Ew1mtGzM45Lora9/T6PRts/P1nig4rXE6zBvMRFNopZmwDy+/bw4vS3Sx/EJa3GPvsKZg4Nt+VsUZuBAzERtXMck30ZvmFm33ZmYzmhZkmUIi7Gr6eTOFpwfgT3umk4OlxHSHO9VidTupbQdlNRWebM2FjFFTqfbzBHXhMc348J6XytBLkDIaJev1WxR6AvZ0GJ5uFZJogTojhN2pJ4KodAHtY2Ma9V40YulimKAT/kdP80pHRoNmA9IDmbhpgSIRHGwLNDY/Ri9YSLraLyjJIxMaVJgnzR9EPG9tYBzc97l6wG+ERQYhx5pR7roVr6zvsDgDCotm87yXagNIcrSv1qMIjdgHfuHz3CZVgtxuuFtjqeeMSKzW7ji0EkLq3yn2mLKmvJapo6GHETjCxoSLYLMX7aiUQ16eLWRmgjkAgiS3GTiYqwJbWEr9Pmj7FyOGjWw3XJvsXTp11UpJqarJWvhYXXMhvAtEk9WqXoVyWwtpMMhun00f/P49TYoOw5ck8Ur9SHlABqD08bYD7gtfVhhM8iIdUuFl7wRvMhPFgoDYvT+DRovxUaNoT3prP4L7MWbfye3bx3HTMJbv46HCRMauAV5Ex22/aOZQ+CpWrcNTV6eneI+f+g0JD9yzfzqLDVHX6dPEbbTr1B6FzBFOp4plWyQpaVGFGLBWpT9k3VuNIAyTNa/nP5gnv2bf8gMBQXFZYyfQ+DhRnCBpfa8zTddY+mD4+UfOKFHXiT1WL7xF6f3NxDbEmRTlM5Bjq5N+zTtube+Di98aD2iyljTKKVfbiFAs87KNbjD09N/biNafRebnvB5rUNEwv+VJmKKByDqq5NAUFOkipNlRm2kiooq9aMgjuceAla8YggDocieVUnUvuUuSeZV33DjhDFUSfq10HkL9RmM5T35kVzez0UN8+qsFcdnq0rPlf0a0OcIhCiVFzo4K8I/Gg1WgeKprW00pRrrL5G6UXiClJGl8IzLVxx/7OczXtrB34B55d7egojrgDrypgpKkcZbqJlGqD9QnsBxw6hZrIn23YjpR37RE0bMta6f4d7yseXlSUX8r9+nqfJRd3YRyr6huHSg9OJtqY4b0DV82zkJyx+kkGI6+rgjhfB1wu29Lp1LpbFoQo9/ReVuZzZxzmrQRFXckc/nuyIzVxC1YNFrt8BRVDdjMkL0U7tuGcOoq8HUfVQrE5uPgtGREq3Owmt7CcqD6zICMazkV2vhvaCUWAND6Z+YmGURvI7o3h1w8l/nAEdqEdptPx/65/hcJHn/RQ7daNnf8JVyUGUECOyR3RFUHaOMyq/7PZ3XOHU4bGYtDg2DII9ox84yOQRVfBdrcbDynpNHlnNYOk1V+VZN0+GVaX9RZDe5Ts5bdJnQ79rqguYTMfEpYSUAigoctlnIapXojXVlNwX6GUmZDPKdQkdlFIeLANBtWcOQYgckwv7q2QjnDlshwyq4txYaHBoX4zw39U2MqLoQbAqHn2jf1wZkir2hIhEHk/9L89OjJAjAUHv/vSAMXmSPhgRxH6X+7sn/XNJm8HJ9XA591XFogPSR4ylHZiD/RIIZilmiQcQpJxY9YaLFRzsFIyPZLcQp8CRp5QG/s7z1g27BVY7Nqit2OUT4UtV4YbaXCmGD64/QPEvRH7z+IEAV3QWWlo3JbFUZng0njKgY/U3dsKk+//QN4tFra8oFjDnRzdduFB/sxfg6zyriWfJylASvysgDPW8fYmwHng7cxE4HA11uqUcRhTXUOEqRt2lPUZspTpJYVUDkNkG6o5L962nVrMbJpHkCCEz+r/CZUItnkOvI6ojjeyArfEdGKBVe86mvvj2BxSKv1ANYWoF7r1bXMWBBBMrVlYpY65MgNnxT6H3R44g0484E1rjlP3HwywJs+6oZdNHyhMBXKCUHRp+IGmv3zbwckl+NZx4A3MKMoTjlA18ehcymE88LWrb17rrmLtQ6Bx7d+wPwxmOPPlauH6R3KS6mExgM1XrGHCmhjdwjJkSuzmi/UJqwJWW6/IzacsLLnv1pntJ6gurbdtyPB9GsiT2IBpgj16u2kK2BYTPb51G+rnsNpgX4pp6nq7LlvkxcDFQs2byW9TayLOtbpDEUvXriziB6/Mxy5KHQ6hPpvQUKEiv9jlvBvK4XnpjVNuT2VVRHFvdwqKCA8XLdVPP9k5c9KAjaZKcBll6sP54JE9/SOm4tugqtZ82czfdRqYTdjyI2HwIh2wtu+0sqSzgRvjXD+8w809CMIqV1YtPEFeDYhYm5b2mNQNKnW34t21VzvAbot2/4KFdiDRvpVIeFbzBkI+pmOJkhXs27ZC45ENBI0Og+dfHiapNc0aB9M4fYUG+SBe5yMMb3mIEzzA4LlHu2UYVdHj6bdsRKK5A3jR0YV/GAWacok4Q1ovpnvYobLrW6o5xP6VtNBXKXZAW9/ruGWQ5fbgENQUTkkOTLJQgvPwRuGjjQf5DUXV0L4Pk6pYctzaF5c36tfVGhVLep6VWx4JJ1XfQD+Bf0EO8qi4dkv0nmn9ZOm623UVRmJRuMFBX0g7BpYircr1GG5qt/Sf68+4fDO0+TelkMzKEilVPw3UfYZLTB/bK7ZTBXsfBdKhP2HbhX9K27fdXdSp4Y/qvv6Nsn50halRdMDod3T7GVevYVUK7xS4GUbvDRUERBXNTFiMSDYbz2rt+g5b03PDvQhxJFVGL7kYbQUeK0h5WQZs7lh7iYzr/8S0PB/ZGGWtjq7Bl5jF21DfGwBsMyZP742nuYH2AW5xAHbIxJ6Aj2J5BJaLvhHclqIwW8AqNdY7LkHubp+PaPuHAqTC1m8CkIXoZCzEAlD+3RJZNqxKLPq1W7LD7vMoEsdtBUEsBPh24GwV7Y93l28W87idAjZJGGYJDPUkUiBT0Racunc5C8ufMlN6rJfBztJiFmF19SnJ8Q5kQiiZaMj9eayOh6aYj0hWgHNTZz3LYW31yzssK7++Ya9tvLhhXmCEf3+rwkOsaQueP1WM4reWhgDGSERH0ZtR3Jzfb71XNdTUqnWP4judIc2C7i7v60yPna0SMY8mYAe7sq9lWeL9fH5jAnUpFJ+zf6T8OOLnHh3QWdS/4LB1kBBVv7qIkSLttMHgXFkEay0WnZ8weZSZVjVRZ8gzqL9MttpplSwD9yMkrxhviBSQV59XWP6TXso6HaNQYKNW63xrjVS8HTlzrZtX/KJYAaj50uZpj0QyTaqZaii1yBc1FZYYzY7XnPWUfSmPiRf28YFqIyvJ2Sul1x6nvGOX2/dQZL53dOurfHIwcaTIhNrZIMx/fN4Z9TWVxB2uMJbOUGssG+LY4+0HFXF3AZIIwV9Nk6QLyUySkvm1Xq8wYrC/XugxLmyH7/82YztX4FshwvHx2mqT6VE23BC5oW94oysL3m6QV3wXpgF1RQY2XI1B+7tXUUQxaudhtIeoVdXo4eGt9mRNp7XTi5KtKv9wJcWaxwImorD+NY9Kk8Pph4dJ3b3zfeIOc3VhxW61HUzsZqMJWmu9QI7D36ofQz2W3jX3/67LnzgwShDXWxK2w5e/rS6xN9v1wiw38vSPAWi6r/wYr4V5Oo5A+IDBqFGKZmHtAHj1rZp0OHVbP6jdfOjse6bTx9cSsrEihIRluAv+rtcJ16Yegg57S7jV0ST55mbYS/rJ4UbP5FfMI39HcZZk6sg3za3cMmfejgPGfJbAHSZlIn0EupmrzcsiOqggHwmqF3PyuSj2TBKip5IifAyAsl0fFXKsJAVM5ynn3D09NqDNGmNV3o6GhpfZJScqCceVLbX8c77GwBSUJVNTyWAhK3g1D3ZLu2cf3XHA/77TmfqFHnCFtk8ymVUjmSXpbUa3ZIv5GOtiZBGUTIcVDkYIUIPrEifvvmoluAn+N7I5vWMLLuGO2gadWFQu1AMFYvYDMvbSp3bWqAjW1kPuHG+a9L3sm1NU/YC7D19HFHZJ0pMlOuoMLsNvPElsn2xnOV2O4lzKHWBTd16W2io4Jw0TARVy6JS6HngrVEW06brbBMY18/nZZ/eA/pmDAleeLg7YllifdetXBT/fnipYL1ZM1IeXui3pd9mhv6F0wPwJrTR9IgOPO9KR5IXwVL37xOly9E+dXDrF6I57Q0e2nlzdnOfFjNu0g1GxYGqI641rYDQX/dmAE09gS2ESPD7hRgQTkU0YLi2eS/X5eynQGofAv+7JYOJeipb00vI++72O1s3HKSkceGph892KYnzy14q/EczaduCtHIsBqpqkqfNCs2hgMtPd/tp6WYKsIoYlvHVpcwuBzX43ncomaDY0XSood2NMEoWre10E2UlCgAM4BVCwJgdRvddOBILKoyLTJPO6RAz3vM43KeAwn8dudaXFkvYQ6CVS6B5EhvBn6lHHxXEiT9R6bkVMhTfv7gLrjD0kM405geJdPO9vjrsnQay9HZW5Fps563DpFQkJ4BIL5RzhwpeVNE7eyr8xX1K/Q0SwnA49Ew4jT5/XGysHYJAK+AKYZLY1dW5NPz8AAK1sP5XdJlxihCQAqkXghg9pZN0T0r+kZAFkxuZQzq0NgQQIMwQlmX2e31LPRc3U0zNi8d4aL2JbSJz7ED2crxRbTNRIUKtku/2INzNRPpAkhlkZO5NNolLTv+x5LldrrfQcNnmoQzkvVHVBx+KH0sXqvhbvDcSeObIAaUoWk7JhP2mbdmIZb+HLiP/pz47cDVi6L522IToe051/rJlhaqRfsUC7Cz8cRrLkzZyy2nV0LGZII4nds+sBOpcEX8ViMHS2XLQ3X/7KbpGFNdwpr8zqOwCT2A6RxjTW6eK2Sx2sd1/qjt86DzFGFPT0qHgGWSXhgT9m5VqUMv/UF0+ZhkYdrxse4lqNRYKIOzO2fGGteHQSdrAd0SG5iHe/lXKm1CGKyo6NrOwBZBnvKbJXnC7s8C/WDWWsD+J9jVCKO5/Ao/6nIg2s6gfOR6dAKZtybL5jScbjIm0LdSGDIpzgV8gAI00zXRvkovDOXunTbncTDn3D8tSFHPd/EQakkrLT9kq8KNfOVZmOmEl0hh4ipyN8EsyqZuPHViS1mQkxVbsXLOI2hY64H85oup66JmfOFmPWB3g73BLdVuvsrm5N2GwymSmnMlHrb2614kUGX20h64gc5ZQlqc7ErMOOqJflHOOlvnxqSxVkxjz6+X/DV+Kt9SGF8lTeJsrvJls8fQ1i5dfPMUZ1thfBimib2SixYPvVims8WIwZ32y3HGg+tcIih7SBiOi9jsVGR4JDy0fBJO158bCnTbsRk2nkwHUxcF3V0mEjClxmKlWv/a1tnMD2VWvbVeOJRgkp2Fga6LVbDmm4oIBk4I4Dm5Xm8h0jsQec5VJq46gQsYxxiCGC2g52Ou1Kx+KgRukQDCk2oIwdiVDA5gejhnK5C1gZj3aKUiwbcWYSarWYL5+o7IVSTY41c4q2SJFtGLE2VrxQq1cGqnzIiJCiDFEVnXs1I45HPUZajLdG7iHVc+gU3MZg2+Aly2i87sYSjZMs5rj8vc2YnVSUtiDRrh1tWWhUkL0I0EfbeagT5R00lCvIZ9LPkZ8l0X+3IYNA3KjiaRhwWaVjcoe57mCAyXuO5TpPOi5kJCyAiIelAoYoUsTv74sf4/17Ei60f7tBZzObceqsGs1wJze5ZIiOI2FiiPr2VgxNMMJijNDwS9GBcWxwtxJ38qbdFhtPdQOFvbeYFV4H+2SlLREpiQovc9qidhPlmlPZIqTTtWb1jw9Ssgql+Is4jxPokBs8X+G+QnIOan+3t+nBs1Gf8nsZXQkLYhlnlYzTu8RXf/hCKwszN5CF/E1JIgbsMfoa4eiscGhsBjD8/vBBMnCsFfagdb+bGb/eK22OJaU6pRFOWpXlPVvVNsD4v/t2lnpuLpghdGS97w47ghNWkZGRoyw5hVF3DFK9/LG0pkQNoMJSOxrzfIIk28VLkom5qEju1NbaFLp4CGHWmON2TOhflXwOGk7nCtmIb+iPnWCeptM70M5VF72O1Y9MqMWKzHqfQGw2+kXekSAM+nsvLQAy0g8QaZGeBiU0PqP2BvuKzySK3DcXmApYfyVldoFvN9ra9Wi5LePHytMzjvakXmef1WOcu57mvD/J+px3na0FuOKyLzd0PvGuIocxtcPzSQpqKXvbmazOIdMhoD1KiA4tH9ND/7VstkWj678o6ZsOl6/SQYIq5J7YQRLTtJu/hBlJrMf/dUaMOZ2QWENn0O9hmwODkb1dqQvm9RBXiJOSRwm3s/ToijYneGxiJIeX1K7Is5UeDS1XKEpG10n937ZVDzfJhUtpA9e20MDon7S0duMiNVH+dOHGI4ezITLuC+W/0ogF8/dsWf1l9841iXcesWCHeEDHI3icm52jV4oUQ7oxGq+CTAAtVYocduwT3/rhnb2uraWH18oJF0nSx2D5UrZFr0PkXNzeiyrhxlFTbJjMVOFSgcX/cxZmgpapLHdj4WgRWmeZuuZ4CV+kZ3/7VXp6TUFFAEuGWPUxfzv6w0OZPjp9XSmwRhSmGQjn83MKWYjc79gvJQ+N8D9OWdrLedtzrjt+tZtjJmrLe3irvT7ultyp2Ta7WimBJbNf/3LyJgMW59udJRkr4kiRcvRDSrvEuHh9nmtDAtEFw3FOCiTYA3JsPznY0UTLx0Mix3YFN+fuuN9eew2yXvn6UQPV0sSzVJ3xvB5wSpMEmUjYGjUbGWFmy9g0fhYlHrlNbvf2xXKTZshk4nKe/ZbjSKQnQPMpkzwpdxYr0R8jcBEmTcdVFeiyBZ0Z2JK1Nhs4VULflWeVIaRUhWeqTUhdP9ksCp28FKUehH/q4JhkLnQbp3d3604nX3ol9ohvgyuRLfRecLTAJpbjfEZP/Kmnuxp65Sh0UPpNMyKAv0YA68LgVxN3pxraLXz/RubkjozstN4rqCDQXIgo8MowRQKoi9J4AvCaZKLIa7qCuqwpjEZ44MKkZDQkW1kDWMTvl/l058mSRQOY1W7yburBU71QqfAf4UQ+om/zaySgbzV27f0igg3wtmTTKyUyFZL2i8Hqibt+ymKF7fcqGxS4qH5222fnvarc5anCKxFf/oc9emxAFe7IzDEY9C4KKxUn4FlOKstIzyZoAlmWUI66814Q/Y92rd+l8FXFxbXzHZvKaU61mMZz2JP3k7NioN0yvRWeNqniHd1yUnscvBZaH2Vp0WhM2OGvo2yVQCu6biaWM6WzgNlJYjkYrgwWn4uSafQfGi/LzktzbBgQU6fiW4imiSMWoQc6Mt91Ejs8aiEZhQOFiaY0csY7TAvrT+3pfZ+HgR3GcloVkwJhC/S05oVXhDoDVK3ASnwDfKy5k7Cv4DdvFTxmvHFWTsLdYBQ8n+S3lm3U1+SHDrnR/+mJdH5m40MGIsA4P4JmZDAHXS/Z3INLDBlFunA0gNP+ChfViSOvSPZicVtFvHxNRvg0S538PaVqfYR6zKpoOfe1tz2gWJDXuea8IST0IGaIUoSMdqaQ1GwVL/574JJb56VEewMj5ZH0q63VVq4ZBo3dACZ4lckAk+ojCU0UsyQKpncm8tKMPkeXwDne4JDkVv5UbaVHeHvwIAFQ9I+kflcc8aIvfyBP5eqx7KCVPuDPJeX5uHHu+v/sye3dy6FR5O5l5ldzqeBuSDaAwLII7GnCSxe6BSSJCI6RI6U0ddRpC+6yvtiwvtwd+1psk+mC8jiZueOGMrIM6PW8uFSzolLyJD4uNsYTOKq51oubNrOxGhTjrbSacJsSlg3OIJkNjWlbcOfJlH6M8/q4XmKfgezUtbp67GKnsynhoWfXgeCzXdP0e0BKKiHhh906kNgI6LgswWhZliVhz6wwso6M/jHJShgPsVOuc9UhEy8G3SYLgIjlk772T0FM/MNuNaVp0Nwn4tB5EQo4YMQ5Ikx0H4ee7MpETCpsl1YrFrSElV0/deHyHqDMsgVXrLNsAIp7Qqj5vOpWkObGTi3viSD6S/bDG4YNEaW3IP9zZxLfWenKDalHMBefUdY6QRLqsQUjJXuh4hFUiw0JTJsg2MWhyjoeLf+eJYSqFTARR+f9dFyS2RX9PwBqq14+tawLwYCIEEyyX7Jm08xRDxHFAmVxMY/5BhiBbZcbFlJP8GXXuWfHlCLnvfjXdKKn1Oey3mUdFgqvbDYnqBkLCygwqD09zT+m60B/iRH77dejmzWsF5l2j/i1ZtVbb2jANA4y333DWGxhYBMZF6WyroL4E5uxZM8PWcSjQ0oudr+g2VsDx8P+u2HH29mY0VWV551QdJM9BPSttlaMqbM98wID9gdwMjUXWSoSJ40/tDzwAmYQO6X+NLjXcW5JObZTKmIatBceDF5KDe2CmVnXiWltBu1kMjeb7f1RV/LKLG1HVgWayY6Famu1mGPRMHd87aXI5HThDipDYuwesCgg4BONLK8b+XtbWFQzbWA3yfESb8yVNZDOn2FwTsh2omWe/9br5i6qBJAZSi7vPPqRM1jK5S2aN0sebP7LoIZsy2X1MJJ0dMyIxJjvlzcWxXfuKHGXYMTkW4gWjxcq+clsPxaiBmjUhlkrzB4LnmLQMfLYCdxdOh6zsx2DyGr3OnYUh8jzyxJlwxibuwJvX12DF3EYn+jbMoGB1xgdI20X1dBcHaLJBaUwFT0QSCItoXbRxpmYkE/cTp0sZQV8KxKzgVtN6AE8G5CPmjVsOYnSND31JTFcdAuGD4vOJ/nCdQRBBesfLKtR/ZFCcDHLkw6qAhYqlFnmGHLzc1RtNJ+pFroA8EuYgh0Sa6fsU7h9EL1aTXtXmcwTCPyMiEbuCpSJN6H7vWH620kG8GG/Am3G75JwbpeMie2X/dWrv2izmcWBNxdNSAtQXcMah9KptJFEUU68wICoj044YDZLaluorIbWcLaxkl0zD8LWRcKfKfmZN3JMieUaTM2sE0day8PI9kXQpXrxSIiOUz4ePPJ4XFB+/uiFkK8et0lxS1Gk8SfJPRNp+fXhaz+ktCuQh2K07yHRRqcIOqHiOKh0sr9ZMNOCd+01Q9dZ1mAaqUnBcv4lyPXjsvMcHh4wQSWKpsx6f8lAgGBnVL6L0X8F1VYfbsvdd9Yvl1+Ja+LLQ/mmSQxGH2l0dGDleeL9As8lEAZTVAD5/NqKyAokbbwyB+FyELH/hTmKxxrRkn1jtyvcUUp4tMBFdJsjpBKOrpvkJa4q8UBXOAVIVA7tiVpwyu8avpPKtxB1PbRm+OLgTOcqa2X/hWSpEz6c2m/LicnZQtWnA8AuKnG0661LFU+NwmIlUYlDvXJlNmUN9J7eWZI33uPAuh/TH3KiTSUgrJmegDDh+j3SsUimvnGTZnmJNQ+noWHyE0+91yMHbm120a1VWnIo9WtjscxHrXX1m8zitl5qrlnQ5VNKsZmeYmsPjeKObnZJ2mWWrxNda/R3WR2VlRLmyz+zrFmumGKIjJJ7cfqvvlORvEZF9rwqQRUcmtUYOhdfNsUgZPb/oWZGCySJgpCHSrtUYO/J6SAuvbd9NkB6rc0bSPurmXJg+z3a30fG8RIHFo4FCn6rkPAyX7KZXAPQzBZwQHOCditXFH5LeaEkPHeuc2eyIcxGObLsx5292k4cgIIuinHza9mhDcpkhBt2B7fM7aDb9jXioQ/Zi2T2DpUuOtqG/ffoUOT/WWyNkz5/Vq+jjJJr3n+bvhkKC1QSffZO8/jHXCp78W07twj4Ckp/0kkrMRlyAmRtsX1FpzuqWvgs64eHeGGCyaNQ95Vb9hH5Wk6X5dsZAEQ1xFr74AjpNHzZatx7Uymo2o6wZFx4mKprxjyauaknJ0DgV9IhHx+YT6p515DOAEVNnVKTv1CHAKN8EFPOyQwtOQ11tsOdVQcRDLqWphDH/yh87Ad9o/xY6wgUEekqOuMhSSoThxKzn8Y4QCdq+HhyMQe26Kjh/fJmLr2FFZiRn1wFnUShsI7yOYBecIl2Vf9icVGZUmU0/clExiEpN+iLJjE0gInR+NhbdwelB8/mlKdeY0OYAZ75+LxTCu1dwA2crn5x4YddAgK4jaV0fJ6HZrhIKCfR+qmhQ2hTeLoZISIMrEUf3jyhIlGKzJCXxufqDW6exgSnm2ifneVNaeDYlVuCr02oIyvSRk17Vq3iqQl7T1KOaOAqGF5MU2DApc9G+54DHGdeEM6qtnYCnN6cPmzlPoe9nr4KFLaHwWVaPpZpF96rWUnWzBb4y+wdWlH4wV/pzZWFw1p6+uhvgm/i1Pu4lSNiAhm13+ESQ0fpJ9Pp7I8mBydv+qOTMA+oIFosKfEjlr7xDFD8nylWqHE6YvetrbSzSjcWQljDPpxXgPNo+cooU//9KnyJs1r+bdgFVYNuah8RAPAZ+cK8+IAMfUIJBc/luGDm5nvaejbpKMvBJci6CX+4CfL7H4+aLU5E6FoQSZ2a8jF8xocBP8BGWMDi00n2nM8gd1A6NtG/eljFVdE3gP7fQajQ2pa8oFq7zl118NgZIMwDRG16x80khz6oAY/J52xYKFyDpD02dYR8BvU0kRUChD3sRjJcZuLMN6AbhGoCkyCN5KSpZuW09zsYvNuDE2KtIj2z54P74xwYGrKdnn77U/G1n4HbwKNEVD59H4Blgv7AYousjgpzW81hEGrYC8kHL2Qt9bm2T94Og3TKSWewHt6nBMqPpZ9Ksh0lPzR4P4tgh6FemTffiTRbafH8AZku2R9NmbAtP9pgDNVTZ2ZzFWjeed7wHWIQJfmFOe7EeVpF4XNJISjNULLC+9yJMt1ZnIe6Q5mpLNBgdy5L1o5q45bPUWNhPjpOKCLOQqMFI7rgG4JggMP4XoMM+AHTc8fxrY3DlbtUFuF6XLkR+lCmvJAe7B9+0xNhQebZ2kasxMrzvw+uwBG2cTIU4oyqoo+l1ZRMiFfMeQYLW3UsG7RGwAQ9CLWcK7K+xiaNBbW0X3w2CCibZamfIwj7NVPSu6N+xCsPhFp67F+jvf8+3B2RTCFwVxvUO93buGWJ2HoCmH3K7G20eQrY3rUtlyKFsZYu4Jy4DVOvn4Vuo+kMIZQzfjUrNJuGqDpyu0zaX/WGiWTbdVssvDf+eRYKP4bGGKOXXhQZEMiNx9mjRprAwcqSfSi56pe4CqBqsYoMl0LH+/2HuQ6KfCZa49/91rpuHueplEp4O98/Xg/smCrBKyEyJ9D56qpgM8OZ6AExEZVd/t1LCl4dMMQp80B7eqZedmNKrkZuEXwjZsz95HcApAmGmeTce6Hi+gIBLDSTXUoobnW0fnLRydCaro141IB8XXrtHLsTOWmdjQN4nH7TWdiZJeTtHWZcXVc8QInkInKpYRo9N5v72Rb6YSTy87IJW/oZIy0nWH48IBBlKrWwReaQbT8McBZ6KVR3swrJ8+An24yjhVx+LBKM4PgKmcvQKpPXgntQ788jPVHFoDBnAdviS7LAKYWoqqzF0vf+fWYtSJJ6Nq8G9M+EdtJO/5aZsxBJMWWQf3T92TYO9h2WI6/leYSx/iwp2e8pdsEZhQNWk9RNt07u0CyjXWbIFkUiKlNaYRvCzwSqWbQjdFbQMSNgkoYdrf7uVNp6O/UF90J07C+o/Je9eeLAN3PTOwe/hngwEOavjyG6CedMMEqIGmk2oiKAP4c95cBYR5nEv9/FGNqSK3aJ+YRfuOOTulFtntYF/Wwd+TlYoZ0Q3De/TLstEamR2jGqqkslV9oiGrZQPw1LNOpkxiuCrkTNJybtrtg4q14a7uEH/B01F300jtis/in9kAVuRYdypXqySiRdJgq0wSxp6LNpxPrI3iiV6LWYp8Dn8trukAjsABAt9qQph4sUbqnoNyEwpKq2oK8cMrylr6M0EA3HjWRprJpHAZmRWF2SVy9RMiNIgjwzUdntNYzr32cMHpsg5yKaxsLal6IfnCaH7+wRXztYkhFXhCtgaO4ehaQeEjFOwsMBud6zevvvUPyB6nuA2GCEP4eL9AHZ2M9OjyNg4oZMf9ji9FG0KQUXWgAdhIlaS6E9TuZJOP4VHgBTbrPugbhKSpd93SyOU4V35gJtfccRNQ3rmRc5CHkYRdYUgotiWqmWcF08TU/QzNkRQ5iOnrn6BcK/1EMafclq2DbF5r8UWnZ3yeVosh22GHzZPHqlRDORoPsDs7KdKwUBRh8PpjAaNUEcF0wI1dxRVFnNHEhwPEAdz8is+mS8sO4hu/6hhvtTJHDiw87krZmAeb2XLVgdBtOvzM1HlmepzNqdDn3R9UQMTpX/h4MsvLmLsjwHeAGriWybxPv/Peh9Mjic8kWHJuCLM4om44NkaEVAhSZ3n0IUvdp3Stu9WtkGpbLYeMTKw5+OCrmnOyVWeROokpFK6GTU7wROoIEH4x0oyNDK9jz9n5UZRLWz5+uGOo46vwITI8HiIpGGJMIiwUNDezDN171op3u3C1SYhIJIqpDbjsmnf3LhbXryVZ+Tmd4rxWqeUZp9b0d3TOaCWLBXyGf43DU8DXbPwQR+WuV/Td2kyep7O6tYJ2QJZThgCVyUHOlHZ0LuJD0qJ6PQ9vRTq4pfrQecuWz9WNFld6AQkaaJMb2xX0umfq3NQw4PnT9cR05Jrxv2xPKhqa2HqSRKwDr7b4dLDfsA+wChnO5roIAVGZBX4eXcrqODznTVCeG54zXa/i2L1m/s9/JVLOIf+qkGmUdmLtyNTxZ90xBQxt4oqhpIaYy+wxq5qZABFdxCKLmHhnuk8qN1Mg/AS2S5m4ac7JanNLOPraBgGeHzhhATdPlRma8YWYfcjbdIYlDyOyWCpyPPPBCnarTV0zL8nnpvVctXFs221khqv0dJen/vz/9TZeLRMEtqDmyrvojMZat8dVOA7209+TviRBwAp/ZqPxI0W5tlnam9Y54nteD5/YJUKTSDSyniw7h92zXHVBMKiNSMwRZRQxxgzY48qSQGIEEWzrr0RQZi6Q5dFbX0qGNSFpxjWupU1PbgkAfQcDIlsloZZmDjJP5NVt6Djipu/DGBwTxV55iBX5Y33u9f5D7D2+9cVUfooui52AQ8GJSPtLahVcT5bEjCECCrj9qzUsFJteO9K5D7VAoKSaj2xTq76PXtjyGCoEyz3c0PP90JowLEHM6yMhYo6rHhn7cU1CBsivj+FLjgNsOrdkkC8m4puSwv/2XhjbWcdAAjIP5RusqwcxzxsASvCl+Ip4anJaxfyZj/M0WkU/QfiLFA40arQ2kBmLCblZBFge/jEvQ8KLDzRctriNLKxGINN+2tUdC5hazt4zrKbqWF13onyKYuAipgLOXFZww6Zbten1CgmKHaHDWF0x2o6rfVn44atfYYpvQ8icnujOVBKgQvPHk5PZVdPhLTVKdh9yu9kxM6OYBIKWh5NeB9eMEiW44LGvwzdWyRj7oEFKLK3F7uvGSFkICziXFC8aArEPVkEbWbJ25AW3gXkS4zreps9m0iy/SskKXXZoK4BEz0ek85bK0pEu7wP9/nOyOoOUrXzV9uCuW13m351YpTOAIHVTAd1eaOdE3falyoL9cncSJ2zabx4MKbwMO4D+dGhLkg+5T/MhpYct1MpqdIlntQflFbuZq/7MV37Id5Ls0n7vMXJHj14ub9I0I54gOwoM1hLT2mVQB6Hi9Vid/ECR1zat9P0tGXfY/MpejGMtgTXJUJkk4UNOTtXLEh1dbOm8JszWIFnLYyTV5duBeUwwaqi8odEwqINlSnTH1S0Bn0CDbXG/FpUUVCOHrMBXIMt0V/4BKr+cIFtviHnUP0ITKhl+LNkzyn/KJEVGMzaz/X83klzS4X4gc7TxypWU2zJEq0dc4XUhPSZNCWPX4PR0QoGYs30xs7g8h/0G5CDkLgUsjvDkTwsZjguW5zCuFY9w2qXRJ5LvkH7HtzH63ldCqHKer9LShdMl3EM54Yu9edScqIcjn5R0V2+OKeWUoS9lCgdiyXWfFahuRvMXkOC39H3LY54e1sy8M50CBrlkY4V6LSzAsPdf+xtD2xt/LZZUoe35d1pJXydyyhzgzqIZV8mEHVlqjbBUWXD2KimK2KJcMiS+CAW01bJakP5dPgMs8BePJxCmuJK+SDiTbbt4DA4XoKl6eLnDZgArshpzRrK16wu9gL0GbE89YPZxy3XpiS/XaSNWYt0ADGmwcXWC0aQfm2jqVAI37I8cg8kvsKk0L1hMQGWy3+LpIittwNKSCxde/e84TjhwjQNYWW/PiLeUsnG87hsDMUIkkF1Bpqr8gb5K6SPEsVXGCevCxjnxN0w9gaPDKbugzQE7UpbEZu/jKObBAgajk+8EZ1V8oZFXJoe8IJJmwASZEwlMJ+rGW9493hRBe5T3lY0SXKPwNxfVBWCy8pv1usirNLC6yOLRVY7NQGa4onnKniO5cq3FL2zVxjEf48JrBQbTKoV+VBbir4bb5cP4Dc+dzXBSvYYfOc+ePpFl3POYy5kRPgUf5v/xZ/4o2dJu5goIIRHfOPvh5N/87GvFpJemlQuSxov/bh99idLHxdehZb/IwzAnA5FW9VC5VDH1T6IK60Ju+8w+ivMAe3LkOI+Sm8YOmnROK8j4Q4RTjVV63LKCc6sfu9bWRc39KO0pm5VNusp1t/hzOdcVy0nlMzmBHclAmmk+hRkkwD/tkcmbE7mUSOyjSm7Cf+LigVC3G0bsRTH0H+83NrJ/D4FCp+TaQ+moVpjb84hbXWGg3WHSNiFLdCWBqxt/g/UiFjLUpIUa6Qqd//gRcAU/OKm3qSGmWWGRgTgQYbcQEm8tp+cabQ+KR6pHkFJATvFXKEbuXNS/GThHkB5D7RSyNDYp44Zbv3ThBNhAhd6BmiM2r51gWJ+4dkXEi+tUMDQTJddMjMEhniRrI6U5UEJvLnAroAD4F1sz4I8kyh1LEFg9rxNTTlED4t7EmQg6FlR1t52T3oBvyMwwqit8tlPR4XocJRFeLYld2jKQ/4HupAszPRokssjAShsxBkDaQh1VuMsPz2Bks8vNP27sG1oeO45huNehY+RoXojEFxS994Dwn6TJ3sf/Jmotws3VEEe7Lo0CXRY1uiEt6h/+a1wjZ/+nFK3+93pveaGuQBtuKcJYXS2Ej+qIg24i9wXItVDlX3Yc9TLuzJbulj1afYiTzQa+27/tqotcdhBW3Ct/jGPwaMtsvFwnO30Z5XdxBF5eOvVr+ZKMoGHyXPW7VZoV9VXx5rwVa6nV8C0flq9hLAroZCVkoqLZXTg+CBjjG7U2folL3F6hSuFE4Sz/tv20J0U6+yZDS1qqALzGgLsmk6/gYt+CeeEk/hqBZX2bGYKhT4eUYQmIAg3WmmjTTBfXkeX3WzlX4dZEaIvjLCIfr6kGpQuUgFJeatOpE/SJC7rl19nr061J8leIPs/dEBAT6nhzOZE/NT+hebg1agw6akmNvqyrbXaZ3aFTph2BYg8MkuB88r1BJqLMcb8msJfpfNgfJzZJTqMm1upWMs7+5MsnCDZvnj2URiIb+bCxCvtHo4cpwXurh6u8POv2bracw8jxT/fdykCJZ0B55dnCMSnZCKXMSPOd8eXrXaiI11lvRbWrmKPjbzYedGGF6OXYTWZWFKgrAtQPb+20jD+Lt/aYdp0YGFNc077HOYQyqRf+6rBStDQNFSTbnoAkdgECb3FREVojw6daTOIkF4cj3bVwUyqWidsUCkHQUFHfhRoKpC27Apapdou0T7xcjXoKFHCcxrae9kOB/M1HUL0pZ72UfVUeLArBoEWImVwo98c4EnrY+QVU+FGN7TgTNd4MS51fLFKi4+nlubnZ1s2cv+JUmkz5xqZ5MQryupZ3SjT+S7+xdDMVVMXESj4UWpaTLxYJSPaimwApGCnPPlmvfBFz/wCOfWbeC+5dldtgfva026hPzHq+bbtVZvLNxUxzRCHv6N64fcqVTYZbb96y3YfBRZ4iLE5jwSuWGDrGM5RSu1QdeT6Y87cRIcrSSUVadj2NoIDMifc/4d/7MdiPSDQomWfXiZiho1dvBZUhqMZgup3vZyopXqPiviQlDGB7AQPPLB0/AV5G8wh/B7LDZ9l6wRerH1wtGI/DA71SO2EX4475nAlEUPsXRbnVzyQRHg04wngrsu0tLMxpR8tSN16pdRC7aIh5B3Bf0Gvoj8xzo+I17AQCuzYVxkuinWUZ8wFNpOI3IT7mrHlol15Gvv67pAcWkZ4QngQQYDylQJuzB7sUUX84lJic/62hhIykh+TCjaQ0sCLvqQ7FBmufcrVl7wNxJTHKkXAN1Ag3SfdPIWVxuhCo0tJH51Rho7BCH6PZXpMFWmhQcbqlD8N/HGu0EHttxzYrEH8Ao6DvIJNIlCsOBI3Sl+h0Bsc3Jo501zxbAkEjuyvQjOozODlKkUZv+s4M1l73VyvCck59ImUGY6qfvZAPfNhl/IqV8Xjq8JO+jBwvypArfZmdKd6XbyyFtVi4h1QbGb19k3eCJ3Jt/YE/Z5yVsFYkgZcHhA30RJcmzR/ojnYE+w0yEDkp4ixEM0n43dkjiAoL3fUgGFcQmhR4L5i+d2bfODitUOnTJ59xUlAi1frVI3SbmlC41SxkftvFl/FeFJ+42HddS0LpdTiS9ZTCSPNyEgaZ98HIC3rkEO+VS2+Ik6DugU+SQqK/OxUkMB2bToLpUWL7aiKHCSztEyCujNCIv9YfWSbg0qhq2kLNroIwpPudukOvg8L82tjPudof8K4lI+ypIwoFCfz/vvSFZoF/PVZOqc/2AFYbRHOXUqakr35gKri31UE7hIMiTeSnS0AVkkbVpf9uZkzM0XBWOiZGV3TkGBwYYh1fgyOslcyBRSstbMwAKX9C2yc5UKvodc/dQrgscIVIwW9qMmBIGHxCJCsfxxK5d/0GCcyJikKcdnRY2RoRC/ekxphmqhfIOcAWpQCFax8DErK8t5d0BhMJ7Tzfad8kpmAe50kGSjXK1QSujcs6wCmVM1YdLYNkPnHB05ELrJQRNiRFF2T403RvQ+E24p8ao2hvvXT3DI/E6nn/Xy0OC1Ik8jkzosHlTVadfJ7itzOfk/x0RAvwgNjioRwglQekcIu9W+nuDOCigozuJp9ssZsT9Dn2D3xF4hGAT5fKtWryfpxRzD/y2oXk4rzXavGBO5gP1yHl9YaHNq5RTkMTL1dhU/mpAbK99VZWD/gH/WZ8R/vvfroQpzAqr7pRrdzQSBMQDKgJHl/yCfVE02R65yeI3o+Zl6KlZSbQjxdkqvuiG1gpT4eZ6Zacwlwj+WTf7N3ZQmi6cqRZ3RRYcic5gKOaD0qit/D4NnPnbS6w635sXr6YpvcKVO4tMl1dE5xAhwxjlugijdBsN1pu34KqMhVZ0SjctOMk9nDNY2B6gy4wmkjpb8XbR7l93gNkdijFGAX0f8UastIPwRoNNitdNnAVmqolUsQ9nq1oBrW79H1Iinp31YUOcdzj89/beC11cqO26HNn18c+5vxx5T0rOttlJs4aHPxXonKkVzxJFuBAL0fDixsNMDKxyt6faVbW6ynQ51R4RFI9kDtimuseUuGCFcjg8fGfYrnMZwOEqDeToQetcCY8Xbj99Fk/IHrclH8StFb8lJ8z/PMuisDLfmLndAHScgeylcj3MhPLbVoqkCsZ6F5EtQ9f7SDeOrX+pJs/LBFOQSyXOsQ7RR2cSCR0x2caiLRkb/BM6fPhugs/elXo9UAWkhKrcyTkjdIRIfGn3/+lM/JxSuW3EsUMftlNx3m1t8yM/mt9TXG51Gl4hCVLpwrWAU9Nlh/wMPPA30TWoaTM50ahSdJuGig+QRG/PL83I5wmKlUnHk+4jrJB8cWK2eWoZNusS553jPC2pJ4cBSc9fdTzQ9KcYr4s3NSJ7DbNKMgapv7ZJfgKzC+HCByGpYNIwvpI9iv8w1+zSWfr0RY/KtqcRfA4Lty1XUTN0algOXm/DiMWfAVNGtYhH69QWkhs7KABgNHVGA3g667UD0E8m0t0IZDgEwnZU7UnbwlJJgtFTm6R+1+UJsdeWCICMWyWqvZfpNBcACiSmvmhxbKFN4rNc2yoZIfM4TWuBIHOB7/BcVZbzwTVak5K0J0djYla4Jr+jrlF2eGm5txVlUtwp2iOweRq1OtB/2dJj/8W/K9FVvQEIdJNKHJtcQCbOgVHi9v81H3Lc3+dJtd98CjabWDUFvKk+Rrw66MRaoqHXBhCphbm1dCsN9tfcZap604JtORQDjo7yCy0HLbJh5qRnPDj0AqC85IROqyC8QVRm0r5Xm1dnctzNWO9aojFvNCsb+tdmKhil36tttTuOJoyyFzq7g2HbGFje8juCN0DTaEy9om3S4F0slEfVmxmzC/KkUm4OUL5fktPiopx4NA62gKA/Jc2Q52SBdH1dj6X1owF52BOM48caX7trQGapt1CCD1H3xnOqNuDkXS0Zr2PSpWjtkEJL05usT4cDIZaZg9LXhptDtZJnpqITV3LWILOJvNHJzmKzknCdSzRxi1Moa8ikgB4ZfseEeRRieCM7JYeVS/+NPmrtqBUOKDdjqqI7Sq/IZLaanQv6iYvFwp+niH2eHltpJYK2obsh+OHAy9IXMZBeUeLFBFDdE5Oyqn4+IE7lUshrLnf4PbdDW4yM7ioxjuL7ctupGsi/HGLrrAobLsRRcCZG5uWRtVJfH0iSo8RAvt1rGKx+xuCXGDHyaZJ9zp92YHCv98S/VF2dYAlqZEUa6IwBRhPtfigzg1IEsp9FFeBo1zaLT1kiOV8ZxuTSHggkLqoQxROzJFwqwsoV6zPPSzHj2oqDWq2PCwhrz804LxA4s/m0kFK9J836j70gpWFz76dbV6805gRq8wfGxDBcRD56Q2CtBh5Jla5ZcbZEm1khVc67PkjgKvPZJseGroJxFfFE5jzIOceCCVjAIF3gxZvxqkndnxr/+UKMmFv82LGv+nDkzZocWEK9VljFHrhh3rgfmke5U9qp4R+Ur39rOZzHWfl255lOuAXi7rdHk9JZ9f5/QKKDl4+Bn1IvdPX42kGl5Tl4Fl2M1QovCTy796ZkHEaHkhq3Kd6xERpKWrVz9afmthyCYuqHlAZZbSWzj3tGPlHqj8fdycjGQJdZPbtpvl0aqZfhXy8VDvC6iRJyPZ1x2Rinx0WGHddnZWO74BX8BaPWIN9TkbIdgR+Xx4DqEWhVTNgZFRFFxyN0d1Txz4plSwxbpGR8+bg+P9bef5mL/AsuC+qpaLnh/FtEzNxNCEjyASS9yp/g/ULB/6BD3SntIr30IGUOJAc5iu4wcxDnsPem0yilLOrhJ58b0TK/+cRIAO76ZADZCXO3ZCPWArs/rGO3yD7dsz+XL2c29S9iHUl0Pi1tKONWpvgBaTPhkUpPd0ZO6D6AlE80xOT44RlGNbnFHTcq2Vs0Y/G4cuiMQNLtHlNUWqXUxZ8cO2ZF+uUBqbZg3DGd1N34d+6yoUYJ9vYoJ7GqsEkISpjgtBfxuOygJys2whoFAOXamc4SeadM96+81nfq6/z4+gFjBtUb0bzQo8fiECwU670QiKod2pQEbAbjp2e+ir7SJ7Rbq0jfCL8fFN42uJuBcFSl8XAJE6et9F8AOIUgtbB/zLRJeAY0/QaOpDYqXSMI+1hAVW9CMk0QtzQzq5GcIjkZ5aX0bieiCZldYLV2AB31ehK5lSS25JXss9zRIYSNJJJ/Go2GeAAJwcZUNXqzVO8nPuklQpefx9wk3gcYMTkSyF3xpIS7L/mpkt0MOypEZwi1J9BmkQgG9iEikAsmjpHOFPMF4qGbhexHGdV1ViwJidmP6lx2yqZZCNQ/dTA26DFCN3tdkpQguFbN37Yo46sVAfQfvyzaGeVTWKM2+tgbwn7jUxfTCtkYGti8SxODPnAiKaMhykBouEe5IO+k4x1sG0xAT0WkgjS0a/KIovDIfqPd6tsQftsSaxivvv9nSuNX+Zl1repV8SrHNg0e35IZeSRTyBVfTamV/2KUzHDwD9E96jN+2b1eBSFSetbmTJJNSoPmrUfa/FplRT3nat++vHTPDV2+zdQ2MKkWpN+28/7BNMKK+bdKmpLcmWkFJbWn/LUL4pwgbqcRVaCqLpKb64RY+V0+EsUebqK7NQ3SFmpCg2R1SY42B/93imAR6JubrUmEwhb5JsBC5n7IYKq6UesNA5FbOIaH2YeUPQo8kxR8MrGxl9osXW9w8cGvRnSWGMJGXrp1lmgn2wRqRh9L9RwNAmDCQWxsiUlC4DXtmhZDDlJ3X2Z0HH8CKxoOnCxI9bWp0v5l5GYuaq5WDLj9Hw4GddJo1fGG507kXaeyb132tMzwDOKFYNdNuBnIgutLo692QxsgqDXh3v1ATLTjGwRJDNQ2OIAxMmDXbf98ps0ec1R/o+VI++hSqe0u3FOPB41561/xzb2bZoaC8kLEK319uOBemdQnTK7Qi/jcdwaKjjsmLJWOIVNSBtpswMMwRvGsjFdnYe12WlBKaYjIxQnjDR7MlVUjUxOBEAN7NlAO+JXOnF8R80oZbZoVE889lG3qy+p358GP3k+XE7yuw9IlNlhw5gaUMw8ckyk4ZO7gg9HcgReiESBmGzVESeOLcBbC2KGqwzkMkTywfGRP4EoiCo+0IhYYmkaqv9OFM9gHz7LPsNaJkZLr7tCsk3L3Rgl5+sG6a9O5ghuCNR6IT2uu44s1jJ1AyJPdHkTh4NjltKpWmOvf5S/xu9nXYTaeVZL0nXPkEmKLy6MbUPNpWfy20dUQy5/rh2aWgaXNEvaNP5Jf13w1OXC92qUandnVRzr78d0F31EJ0PnR4mnwS1KnNvoevgAFs+ubc838Glr+1X2p+n7C//BUsBUdChbgkChCJNNQGjb09I2BXv1aclfNruysVgCZRMk09wjn9RLl1tXaVdAjJrqaog0bOvJuWSXoutwoD78XYq2lUmAy4xnqYfGndpkXzmQtla7VY6GlPyIcL6RrW7+stWG6Z+rD0+RHa3UogAZGaA5Uo0vLLJBJHFOzzrFbfnxCijH253cJ2d4OQPVVHZ6/lw5MpMRmJmLX0rmLm8/RjGWMLskrxu4sXeiLK9MnybhyYeLYl4ANaBQoY+sfWWcHZ4lCUNV1d8jdsmZS6dnZdwA5aT4aeitnpI6QjZIgstRL7Gac0okBCPxRd27UVaMDyjBNnPUrIo+fAvwQnm1Uq+kggHRuO9WlBskaHDp//j3iLXGTKQglFvkAD5VgMhuDOyA3L2sV0L1YO3Bpl3aVr8t3L9iCO04l+rbSRb6gpM+wE2tSksWK64LJb51V6HTO//zqwR0MfoBxYKuOEx+e8ZtpgeEpewOqVusufetDHGUgMfVSnBakfLGmSagP2Y8AL4QHWavS4iZSIcra+xI6T30fVL3NkYW3ilQAHrot7Nr6gil3xf8mj8iHYMvdkoB4BmEJLyYbk6uiEzV7xp/H6W1dHvMLrkc391kM4otUwjnVOT3jOs8AROWEHq9zu5ytT76BoKIfn7jSuPjIRDu/40aijIE7xAnUJ4b+rJisHGPTpRoCT1UZxvA4y7qLuS0pDH91avnG15smC9yy7qlZaf7ed7cvcyrw2gEw1bA+EP4xCYj/z55NV799HSJd31dzgn3vX5c3TfkOan3pVgndNAKAZpWkSmUSIaxz8e4B3UwpifUuOCryTmdklnlluEX/J5bkcPTPjhtTimBHDd4gRxHyS4rUxM6mRHM1WDtmXofpX2W2g8buip+ieuepT7nrJ9fSTxu+3wrRVE4zRpgz1P2Clk5n5Biw14E5D1/3ssWi3EtQa7djSDFfNMyyftoLolRKE1DAQDn4NGqAYFMA++FuC4QhjqLBVOdFmKZnG62e8PY5HNg3ixrF+ux1z2po4tW8/BukHlGTQrdUyh2T4jxu2ANP8CNxqHGA9fNUH7TMsmprMWXf7yW9rgpAQ3pKJp8AiV/WdKHirw2qL85jvcV1bZyAzZa5/pzjrgjLeDQDpSwDVhPLVXmMQTW5GRpR4Feqyj3rYN38kYJznqhAwowD99nC8AKlD36PV+ex7nh2q6qA1uFLz9/StzKjLiNcJRf8b0B27jRgDwF5ROj+2ueKyAlS+v2bvV8CyU8YVCnksb36Ckg3j35DgPvTcm0XCU5AbioHntf45NIu6xkeMbO5uqru4zozhIuS89nY7JTdX8y7skY3ReSbTkuV7uBq09qzEVJiH3158tnR8t1mthFuVE1+WMJJGsId6VgG2bOgtKMB64z7E5CfXDEXS2NDFrQ+3PCL6izxht2liTPapJKSmrdc5L1wNcGLn8nNyUwlm13I36nzfx0X+5yfoSMhjvxEOpsb0ZWTdk85sskE6fNLuNRuUnsDipRflOX84ttSgyRn0ENbovjhQos30fZuw6PNd224V7Hr/5/T2lmZzR41CK2inqZGPF3OvBT/Fz92lTAmxKEwth55udB9svSFJqIplqLK8xcLzKXpX8pCySQ2yiqsI+ZegRj4Q73oF0pF4XWvMsiV7eEGpujwlXRWOX3DXPaXPq22svA9whpYRbXV4Vfpkwm42MWMNKny/E273/SjhnHuPWFlTzRCpsuZ0LLDuazUT8hEaXEc/CaY2tA7M7gsoOvnrPmfOe/QNLFalwNQx5R183fWbgXHj1kAhTmdgbkFQo5F8S8jYE4gWNBqo+ZujuyKVJjEbYBM2brj87CqLRribxv9PM3iiQarVyqXfoIhK7y9KQ4xDcnGroy3+KGszOi4DT6YydH2UPlKLon2T+srBeE98MCvp1I3IxG5qAMzChdtx2wR6UjRbqlRA8snrRyvkyTJj9subf7rp7EN5Cze5QFwcKTbz/+UZV6FGJGfPXJaiPcSz5ynLRscyhCdUYJqq90e3QWwwSTIcjbMvE9ojEyABKFfPMBGaENUX5RVD1aryp2Q7RV1G5H3bX0fyvG0LGeINusXkHZl/6uDmM1ZpGxLSglLHFC2yEf3ndlVOTLDvXVbpvPOpdUk1JssGKhmUEyi+AkSJTnkwbPM53lx9H7sERFfUPXigTyckyYYK8MhnxE3c9feOGM5pj6dO1hV72/A/gtgNRzHV4ECXcTkQYAkV7zUQa8B/a44BZW8hxny83fABqvFxoQKnojvTUO1SUkoNJyGDmb9xOX6/TF6iBGwOHHQJ9ZWplLaZQEgK4RAQBqVveCUA9R4DXsDdLMoYo0q5TVUFJHmuaMVepGfUM6uFb5QK2x7ph80fVedDiWjGH9MT43tXqlybyupOQzvla1U50wJnjV/TPTDwa9XcrIOV9v5iY7+wFMTrNIQNZgROTyLLayPaodnRuV5sG8jv9zsjyDTd7DqGTQFRnpQCvPjQBRknafziT6zFnIInf2xvh8jmdL8YNrcDR0+QxCsZAzoxcOKhctDgC4a1Yk4+6z/v5IX7Z6I2umZKyzb70dybGhtQRm1LjJH+IQNS5RC6ZswsadFc/W+BckklRgPygh8cg3NWySAhvp54pkhm/sAVjtINYhRuBGL6vN7SV2bMdcYASKGb4f8F7gyM89ezWajW5QdUujBf+rCtgrlp6dTHavsOq8jlHzPhUklzxkT10V/a3i7h7Svjl6QafkphGTV99sNZuqGeSg431+q8KzFmVtuO3QaYNhabu8VwGW4ZgWynm645z9AIc4Giv9tuHNrNU+eT4uPHHP+zyxe66E1hUG3KdEqCqhPbbUIbZBwjQ7OlS9vJntCiS8oS1NSJqZYTusFgW4PO2rvtoX3GDG4lned1yfPhk3GV0lvKNk3zkwvIb3zodb8i8zikwfY+Yafv+uvDRlkYNrlv/P/KLBVsXT7sKRzDVHgoGwU5+qQr2qQlKi/Tczn9eDOVPom0eIG2LQylvaGGyd4n+/dLCPUNcPv/RDxIFlekCYy355k4Zo7GGAOTfiVfBCe8CHTMcJAoULgAxRq+E6RNcoCBg2Mn9qwonkko4/cw8S/9idgjOxbl3gVHXBlWkUWhLfTeCJ4rBFXt4AFp+BVOKhvXUDl1c4MRcScWJIzOxijzSDRzammYrl5RBlFKOqiXLlKHlCm2wEl0zg6zD4Zasr9dylO+fonJQ9ye76hhI3iTWzeohAGrigYMvNxC1o2jwn+JEWdgSSEnP/PKSBM5bWWhqJELES6eSuo3/1zitq0TrlnZbgs3hPS66uOv8VBhANicBpD9SySUiU6wLcS2nfy06/5ZeoXdw6MTXD0WtJlGNVAFviEDFTEIeCniHD+RMMlaftlHWJ0Nh55y3iinNFNy8healaXtthliUpWdyfaOqfNLdyHeoWyjXy580MA20HGPpNG38TmAyYE0I0NBKdHOF/Ep2/VFI67M43UsqPXInX/6XIQAYrNfl6Nx/lAj++tZC+fgUXBoeJBIsyEr3F0J89obilsGnYPdYuxferGiK7LYjcqHT3HcyN98KFMtebXWBDMb3Rw+xsdGuLHb9IzWwnybQ08dUKp4Ld/3Iat6aC0sqyKoAc+BdfLwlaVmpLABN6h2VN6XTCx640llrN2odQW9jY0t64g1XxTfoQz4sYD4m9mUSiqmU+cJ3QXxAp8reNWkK0yvdWKaV6JvFBlq+tTs3V1UeW96d8oGT+4pwLGTbImp/1cxkz0XQ3t0TiD0Qyly9okehxN3iu0E+iGpiiQ7tYp63NBrPfzY2DlXjSAfw/DwEQ8T0pKBTxI6oSEZdV2pu+JP8D4Zg4jsW+7A/4i3zWuJfQvFPKGp+2KzkQCuC1t/DjYV5kGK2yc46XLfd864Jl68luFaWKBhtTJxaj+KzUpOxjhg7Qydtk5CJ+UgxZFatLILJkBe9xiXbxA8o8sGoI96od4twRUzjlT1hnjuxwNXyaPUEvx6mDvCPJRxFKC97VWW/zovwMM0ZrqIVeICvqJk9UsW9N3uwpVE88a/o6zdYvDmDBShmuj6mVzrYwx2RpwPIBXwvfL9b+IB0VDSVsJjQl42vlFNcdN580OBnwEyV34sHml4S1Ze965Y1RUfJvuCmtDBfT6GECMlfcMKWErA70Wg3zgtGoeDYIQkeX1aEwFT7FmtEbN5/qoEahLWpxTGdJB0gobeEmkva7KobLRI+DsFMoA85LTzvibY1UEhQf/DBDu6PHeSIFINLsOTYfpzpDxeEa/ckKMqJdJPOSJWZJvdBX+sXoPmZ9f1qLkMTYeJZzSWahKr/BcYNv4/Bd6LR874ivL8cq3dgwHVfZxjmG8xHe1tZraYXDvOMNFea+yDtbDhGuc6PcKyQqfrP0d3UQtCDp8Js5tcEPgl1JkfLvuI7iRdqfVt2fCacjECxtld6AsFRZSU28mBfoje7G3bK9PYq696045oIdyxpw0FPxsqn7DAUg1pGX7OvPk1MzpoXDmpI/1p2HD+NfIUqFqkOI0B3NxPm0MG3XND3xbDk5ZJ5ALoYqCKeqsI2RdeT2HQ9sQuCgSgzWKpMZBAB4rPiRDkjIfxpeuOzXCq1ELlqGvpBJ8PkzgpxOX9Jxy12frhiItvgt+6TjwZ+9vhF2ew6pMJMbcgW0lSYFpiUQ6231lB9hNveSYbafvu9AERK9noC3j3QP6rwn510hUDz+ZeZiWP00rZMmBn6cRkVj6Qi+pcIZXp2/hh6NMbJY+EXoZ901yyqia6K2gDye8bHCcsFe4SHQ0JHYoG41qm5OzVhYf/DVyoEkW4AEXR+GF9zdH26EECC0SUW904/ZNNhwJeGqpTz4w/cOyJWM2XL+0e8CNelnP/1wYbwlUniZaEDvUSe0pAN58iv6KpSvP8zFTPQn5dWziNDlDFw8aXW4a1gcTv03vv/cgpLnivDNbfvjOnGDZnYVGDgmlu1UGJxs2Jmx/kxidtVTHLLrYdpx/sqRacRaUPaY1nEBjiOGdXJGQgFIPAVOV1qpl7u5Gn2aD4/aTwYqXVN/oIC438Q3GqDh3p/TwXfRK6/EsBabfczqmIqYEwX51IOToVpoARuAT9rcoVIqoHeo1n5uwWvWx7lLmzNxu3cfXQIsAEcVeMy6P8dEq31qK/drZAgQkYjg9TKN89qXhSd/qNQShlRo6Oe69TB8ljKJRHMOB4YeAWlLni6i0VHT1veqy660UfMJt68Ef/6RGAawbsNRLpSpmMJMBt8NdEnSUwFucVva1M4+cwuPLlV32fLY6oRv5Bt+PbuCbAfL6+elpIgEESmU8G/8+AAMxc0TWeuYBRuFXf7ZpoWPHt92PngRJkjHrGyNWr9j091gTs8kHcfS7KhhnCccHDdi0hTGW06OvjZCNGDaD4q2PAW09pLAL0ndMPhRLpU6Xw2wy0T0UxSiEzIYYGAvcakcjX/PzpmEZeV0P9cdew4JSNrKyR/i3XbRASbpRheNZgFZaD/nc7OY8S5PfsiSrziMJ9YbXVaXtqdut5aRz5BkMLzEgsijv8NAqX5KR6aE+six6oz6x+C7BX75wzBgN23fMFKgy9TMYlSWDjLIFDiLkFkKmriDEfXjsGPzP6FQB/HxKqDnDXiBmFWrs8yUUFRqs5ByPYa51mdAXw9qVYkC8fH1QAJWuS2jme/w9q7mw0zy9iAReJEUq55GGi0814MrVNH0l72cS3pq5wqgz1srgci3XnoS29bJdxeEBwKVsXYR+yT4cC8cp/5S3Y+BE8JYWYxfkt6SmUgNx3cu8bw7R0/G2qD8223z0cF2x8SIPkmV/GFsvQe4fpZKvGYGSzBWyFLMa9QMHvM1FjZrkkwpmDbg/WOmyVn7ZooP0k402b9ZJtq9zxapzB00OSYVf1Hbzh4nGUFFwFyvUIndWILaqAU+gpm/YEsdq6OzfAmFmKMFQoTYHRyoRsr7g4y4C96rjVpUAHunAqCGccD/tbeJ8ukZsKdcMqtP3YpeDjbsUdL56Ghn4QtR/j849Rv1KHHNBeWpmRAdHFq9CC5WJh9ZrPZAvcK+zyAh22jo2763njgPDtG9GT2oqCSMCaIY6UHvK0p2ZVFbHgCbOPuz42hru94PcGQdmoXpB5H5cMJryZ8d7lVLx7lwmxwvq1o1M09JMBX9t48zklHxi50UUAJGDVGpU0Vd/5dtnknM+dSACUyfUo/YmN34tIcAHrGY7+EYEVQweUA+LuuguSQUlsAoCPFhXn4efb5b6A6b1WbpXjC7IhvB57jaa/VqaHYapcbinr4q47tVLDpZkFH9/hW2F2Qsa3/UxCKzRWk8wtzHB01+vLcPrLvl/OdON+HZcVpnWdPvHUyJgppFboi6lvYq6k3NZ1BwL8XF/dF+QjLOp3+CHrcUuQ6ku8oTdNKmF6f9Inj83ffm5sxPyvNLK3YoGjAPBrdH3E6MEnoo/1GB5PzqCnfdkWk81p+opXqBLvK89NthVEXmUykWxplTEp8B7/1j28u0PNjV1tgWjgS1sZaOwPaj5Z/krfUHwr4Qb7nx6r4KF3/VfNJZJnKdGHaJ9u8hYdK93oCF8tyezhSdtWBX8lWc/LpexOX8WTTF2nQQkZI+a6veSVsCnHBIBOQEgJqBn5JF9zDehUbd+NfZha4t13ZGPX43aTqFVXYpnedE3QfImnmgfgsmOxibI1n9AGgbwevOETLlVQWGFR/kZLme0lQyzC1F7+3NK7ftSoD1hQkRRgndwOZCiuogQuehQ8EN5bULPP6qn4nn4pqnZEIy7qqYh6g02tZYBwEd7zAYDYcspeUg55CoQIhFIsRsj9Gx17nNyx89N/XZjqHwl19WJ7CVQ2T6T+qvDMleGW9g5o6jt2qychtfr5JbZpwh+NPyNLHBVKRXH94OAKdfLyowi/SiVAUhPgMEPruku+GjMt1/lL4MfQeSWzbKL2N7/I1I12C6Pr0c+aNwzBhZXQwleSk6vK1CRZum2xvXkCa9KmcqaUGn/ZrkwAUXkiWT55TTYxiTtCf3t/5gQz7rPg/0l7UXtr7rMLjnjm7XqPveDrOHwkoVD91UWJWfDBT8RRrERuw7ne1MEzfLWxJqerx0qncUTUvKND7iVLQ7LtLRJwTShJw2bHeA/HSJMuLnXUtBlLQWM6UJyEc7cFzwBeIPD+ZsyZtCcPaqLQrRRH4L21XLqpQl2QCbYtrO2M8t0rCOUCjgrC8vEvK/9l22RufdrHpVFTnYakFLTe2z57AwjZ/ob2GCqjWmIe8Qe6MGss+t3KqCuUNijD/U+Y3Detq0KJzQFJU0qHiECqWyO1GgekthYPu6pTfw0xyBLVOs4MkFIF7whPPAumBDooKdnzqWFpsaQnq5h1ualSF1hlRs7m8MiTexOnJHAPfIEuwtq/gs4KDT7aIhyyiMiJZklVDfZYNICTuuLmSlaLqIUQRe5dPVr7hQUPSwQAMujyVHOSBxe+NG0gjybf5IWjLJFr6/jkB36gIOAbPdPTzDhqGyiTsHpApXK2QmdsDOjc2d4/PSGNWHoGN+H6zQFlhJafF542iJ9wi0L3ryPdcoD8hDASAF4lvuqG4ogtRKKTveAWWjyWNRcHP8T8+i3iQ72N/frDAoXCBoWTtZW9yyp9ApA3bzXfbJOwSG3KxxH7pMvhtMxdyRipgr8XC/FmWfVLQXKLuQAu8fIRaZ/J7sSg1YUTUI97i/3EyKBPgxs82cGQMoDUc4zOkNU52rKUraDwHEQz3rgKvcAyMpMMDewRy5+O10QEBDnef1fp+TMw075lcHio6sJv+s+ovp5A72TgUwuPxscvUKwO6gq5cVAjYSX77oFqTcFg6L7bHvBvAjjEcD/PWf8jYQl+9jHQa3YMOSFX0yUH12x59uxyBsbQatpOUjWOcjtQYb+I76zs8HvuBYjs2xVCrr7TI4HsBVOeRA6ctTy4z+CjRsn+1hi3pEXWoMPIuXpPkcQb+5AxO/l2jzH9oSn1DqXYZJRWssZGwGp96UdCD1/erUi8hXIwbPnbC2Fi4ARsYONld6uU3At45zZG15/i9gKmtyj8xi+twr+H4tO3PIkSHd7IATxWUqpG/s9iidkboU9vKMqQ7F190khQLFDf/an4vi2PRl15klmGH4eyCxROELNYYZnuVlszdVauEkR1j2pu2bPX/f0ZYKnd0sh8lGJmQhOk1DRiBV9rVtItUxi/S4Xb17jq5DAePRBIFXJp1DecZuozDjUzmvILCDhwmgI3vt46uLXXTqCiLzAY5+dyJ3l45Uy2ws/2VzRdgE3iJ7nN5Vyj9PEhGSYwXpMzgA2fy61JPkqVUelrc5XUJN1uOpgKuNnXfXR1wRK5neOZupDLTNlyLsB0iDDgXUBwwh8dQ7Xa8YeS2lcnq2CK8ISJQxEZaQ2qeBYYK/df1/PVFfkMY9zte84RYQqSD9aWz9l+ixKAyTyGu6Lbqpa8bWFGsL2nqG5jNmOtoO1i9tpJmmkrS5dz+wzVecs982Tp/KTMetWbAK5RSjmZwMl1k4GtpXeU78cKmUnhFSAvtzQUj9wi5VmTe8qzMUCSWOwgC6zLFHex4wQXvmVmf1avlNyM+6BglQn87N1MuKq27pjochi8pMRtGTHAyxXCdPfSU5ykVO3OzcM5YNz3Mnw4D0vVYhTtaBDep4vmr7b6xeAG6fYYmwIO0xWnftgKxtbWnKWmd9geR7uiNyrVGjrwVVychUFQ5/IaBj1yRHoCdBhNkxGbja90uPh3Sr4fp9cd+Ly5eXcovM/44ua8EUaw1F1ITRUpLBjyGfzqs1uNMuzC0SzcRHXsmVekjVJ1A18grqjRj709WakOhs5g8fu3COmUxbz1OT5QuZXiQ7wx0eJP4smnkN1jVNdetl4hxGDLNud4er4JtSl2iSRQqcYe05U118XnA18jzTdAUnEt+ojupKZEKPvg7K5psl0zugmbq9k5Or8FsG9kZy5lQw15/hj2XlaspuSu8EaTYpeA/DN1/4gJ/akE2H0Bx15yREMNIKqAFxK+qqCoqyHZJZV8vzIGCVGaD4m/aigs5AyQWR6eqq4YL+KXjnCRDaK4YVLUpMsiCT3HjFuMJARkWoA4lqch3KFMOMopRbKgVDComfMnbfzU+pWIumP06q060ypOhw+wrslsWQEjso9m0po/og2I/81gX0G6xG2+S07DkImmL4Rir5koC+J47isTWXZysyWCBgRhwOwMB8sbhJBiAtsi+hoTjln1U5EcBxfmSIti5MWaJDmpsyGjhMRlDO3mOi+hrOalkNYoV3JzPqGwNbmaHYR3Sm0sUBcE3VGeVmItrIXfTJs5SXP1IE6Js/+MhYBKJS7Ua9DdXLDUYaS25tVH+2SSeEKvW8VUsiwFlo7ffwXKFCASPcbAWpi2Wn2tt7x4qSuaw6i53s37WouO8muMrhj24SUVV9ujC1YloWXSixvzssU+ySVR1Wv4eD6B8j7xxiqBZK+4B0YnQqAC1JjrmgSr3zbFsTZUjOLfa04/XBFcNUAb9ZD9NVdPsh7S4LYjByR40ia36dFpKVu9cYNiyqiam/RCd7Cv0so1KgxqmLPRmvlmOmx23od7wOfoSq3/TrGbkBiYorqk1tbep3y5WiwWmGL4pQc5uLmlL9Lr1G5+VJLa5f/5t7wrGcxdjiQcYElZpUnbFnFeGuveBQLdlGMPJOYn0FJQYWLd7KQsp7ty7aNqxrufFjBhOOssXKyXIiqGAJvorUdHlnItCPX74rKq8rfEZnZFrHJR80KLaDmKIRiQsphfBwhGoGZ0BIZDYlr1+Z/33i2LDz/cHn/f9SRlnVY8vvA45gIIl/5VAveiB4n8DmGtYnEywhbtVCiLxKJVclsn4aJfKBHEVzsq4OoRE3l4jKdVErh7rBsRzzU1R2/BMl+M+Mc2vy1hl0PfZuSsp86aMX4e5HgoBz+CAlMSjB9DN24db2XaflJ87eg8PWh6NXrhGggWIGVtPJV7xZXwC6N39INHCXyA9t4fECZ0/Rv28BwFs+MyJxMjJYTmwFiWDVo2IbEcar4alf3RvHBhtzU9Nw75H208TrIc82Rv+3usCu2/0tZpUqSyiSaVc/U6tkwHeXHo9zaGy6SH331zPVCrSfLLza0vldXtQ2Ni2gKjtF/Oy1Duds0ASXc1o12XOprs9ksafGkK/wBziX4Mkq6/2Tf5slLwwQ+UGKd2s36J5je1evE28xXeSzIY+75ab/cEnPFFcZ00MbLmt4HKqFBjxD7tkt7RKxp5Lbbj0HM25njd62ZVd3Fdk6ZiDHVG98JzboybmWDB/RyXKXPpG/fDVs57GfGT46ysnLZmEc71+8qGi3qqeyUJwFZC8rYHp7cZHYGGPnDfFiq4kIQAkHIuzWSHve/aR7FirDJYHfPn4UwOxFfXP01GTFMMhuQeL4B4eGJaTFR0bPP0y3wR22mFcNiWzgd8ah6GooBMZMMVCjEDvdIV2fOD0ZaHkS7rqOmD5ZH7GLLcWPaT2FscI+vGAw56RT4x7lKxLXJx/3oVKEAVrHh49HBaOCfh9QyNzOws03PrJouJwfUALLZ3/vM0xy9HwWn744vtYHM7oFYlpt5SduZH5cjUCoAZnWukz4wXEb+aCQ6TD5IiIS3uJEj2fho8YjV0QweThzMEDh0G5W6fcFHG0RauixXOO07G1/D0DeFekrE3kWt+yIdQNxxEQwB1mNK9UW695XILgCst5Yl3HSeaTMng6EZMCyqsBXExbOC5nACFtLy+HI8l0e7pXC4cLhiW44WEqBY8fuTNdFXSt5dwqyNA1J1xNSrJBzZHaJ6SEeX/E6IaEO6hDasM92cVH2qdxpw5yvvvPyIioLZQv5SI0OfsdoUAdAzuN1iMOgXHseclnmHh06kUC5qRMoe+b1HC8qKP/lwaZ3N34bdFZTea8FB6RZc9CePQ9XppmySMejrk47uIEhD5Y9S3y+4jBMH+focm5Z3gPjunzUGz39Ka/gjSw/RdjC4TLyK9s2w/nw6q7nPk252lA+Xlqhgxp1HEHUHj01NipXf9X0nIPKMOWQci0fD2CuqUY+TbB5cKvmQYrBsk8TfrdaRwUYAV1JuWAvD47lvG/P5tlDDMYd4dJwOWrIMwHGRrAwWyaNxgbMx61TTZ4mvjFAtP9NcqwmjdNzqsRtJanYBIl0nmT233cgTTnrRS+ZWXOYcglQiYg570nXRdS3h1ERWrf+YdJALqLS4Xa95LAUnH/KF2AQOewO84QN1PHFAJZ+YbcaTZkxNFw94tbF6qgX0U5Wf+6bwxKHZpbgSEFxcGkX9UdfczxbFGeVe0aSyCvac0lP9o+YA4agHp2sQENvxBDtE2VXlDKISIyP3DYXMS91cbZuBQ3yMJaeupF400xEWIP5J3OhmhObXnRhHvCdXcC7ryWS8lmyzzzjw2XDFhv0U0/RSRjmob4aLoAKvtubs6pLRTOZyQ+PkgFsedDxrT73VnBvauKJwzmGOQ6ACud0OOeGGDaVADcPCiTqdm8jDFd4XY9u/7cxp3ihBhqnzkCj+NxLyUhonfLEFkxiaVBes9qpU/KtbErRfUrONrUxKZ9G/PJGlpavLodW3C/DVw/K7+uEDXtOggc7N1G+CpAmYLb67yUAqsKcZK0HT52URdY9JZ5FIqdRDIAqf+jyrpI11n0/FSk3htbZDXG61fZiqHa7INUShyLT+r9kVxladBmvjh/Yo6+oFL8jwSynwLZBxXjSM9+h18l1TioBHrsWpG46RiMj7lr5/BgYitPnNQ4/8SWf6diYdvvWBb+hvVvPGe+U1PkAhShLdyLaxDsjb/SSSnvCxss0zSNu1sE66+qNULbZdlhHzYo+6dQ3vwHn0k0OmtJBUQuSjo+mVkbS9p/1iZbXuHWrweWJ5bzc9EJcsbifKp3UXDLgOdEmQQMxHdXNQPKBg8utp6K9MJMhyjWRX955KYzcagf2isoiTZ/aQC2jYUMCLpgodXmA9VmJ0vJllvpWQFbT/TnlZk4kgvKH+Kfpx2PC2HIy0YaIzwnY3EMs2fF6vrW7gdUCyKSlJuDdBZ+Py9oc1O1URiHwmPENZAVbo4HtPCuPC+gvf1U9gessdI5q/JBi0domud2KWI2NkBQRWgJPXwE/bBP7qotrc44NwblDDfMPOGlyD8RxCfsUEbdieuGBhHNSC1Ze7YlVp2/szsja4Gj/1u0rjGtnOJFbeBExcJr8wXIdjgvx88p7ulgbQfcYkI7TuKHi/7gDBQ54OrRdQ+VZd21EAW3VJ5ZtYjE3THdF3uLOXV+crnlHPbFAYFYpplMRGleh3RBspxb61gWasAKOABSGyKjQVfd5HQjHzvpMGkDroa35D4qL5SB0qSPXdi0PtpYKqLKqsnCOb3J2upT28QS5M5qF9gBDTTDOsJMTc6vYLlni746jgna/clXat8rJBdmjXGmNunfGhDYRX4Pp8weoibsqfzOj1bsD2HMOaPWrVd3rtmW70o5ECkiyZZgp2kwpZSh7FEQCBn7KQwCcRhkTWYBwZkZ47y0P5HDKEXSvdmiPUCREcDr/bhEPdF4uQayCpMY1GcWtCmhwRrPfrTeJCQtjLmt2e/5WtY1HyrmZXvYzeBnYfc9SfZp0tjgkQ06yINBsg3pdh9MMYM1zW0prIIGn8HVWN9ug1KHAoeCe+vPQ2+d9l02AcUz9jkUmURvnaQ0op52RUII86DJN5Y4sIGHUc/c8JRIZXhhFUmtcRz5Cq0TBA4kn0uF7/1QtmZ46G0xFQ6tfeEXetw+nk8PqvhQfh4NJQhXgrTyCrd8D+guWCKyPI//Z/MsvlEd+dgmBZb1RmXAstt4lGBGupR7RBAN8KHlqq+bf9uuYlDUcHeI5e0OCMO6H88no8lzV+4zJgUYzpceBstQpCKuSEPv9oNRlN2MkoonebVtiUV+VY7Sp3WppZYAhYRiXR87FVfN8qzsn/Za3ta8u3tlmuV4QbSX0vfVml5lVR9kOrqqxo6yRN18OTKfY9BEnOIQ5JcsLoz7pZL4gvJUBNeDPlEQpZhF1afj0lVeOZ7fR/mG//mA1SEPmyEa3TChA0SJIxnF0a4JNr0PXd5xUVFdgpyp0iQCw21v3AuVDTBOEACIcZvt+R+2iQqTwqA8hWbvwtRTYcVDT1Ongl6DgGdNdKof3WW3FUaOK0EaiJeyXDj71l+JPvCupZWnRTksfOT4q8YYh5O5eS8kIhPD/8+MDF8OWasj+tLoH0GZzvsXYLoju6lWKpOPVWugZs/03x9Yidf9lJ/Yn8gE5A+lXODG2UhHjLq60ymskCHu9tySb+oX397IXVx4/wZhML5Xb7vyR2g1xid38w+h1NDSa1ACuNQSoPX+lL1+p7DkDOI5XVP3BFLPZMTQ+mPOHBiLObnAFhKaJRm67uKSdUV+A4gcQ0YjJXNS2QLSstwY8g4L4m8h0LmZMzlN4N48Fje58LcL7KurGw3GdJrJ3e6jk1/Taggu18fB7AuY2tfDlgfcFVgD7J+3Mqo42GRb2jfFqD5DGTSxPd2Xn9fYW7TKja+6FCeufg/tGaD6M/GpyAEw6sL6ABLUUq5ugcGFjd0f42WxJ4KNezs0TDevrUCjFhRo01zPOAr0hiPj62oIAPYVTIVZa8Rqh5yQbNJoexYLx6HPABpKKn58HlZxduFjca/28GJSXjz/aQ3UNZAuDxHh7JJoD/f+kUk06lnYkYhukDoxHbwJgFlNeCobDTOVle6igvzhFL9nXx8kr+xIgFAzr1iCUqmB1QLJT315qMu63UDikVNMZyuUEwwQro2ZxWn8zKnwIdD547uZXvho4/DjmOmmxr0S1JDM9l9PK6mGZ90nDeddgsf4K9H0dIUaozKUpSgH06nr66oO6KLPwGU7lmDmSJNnszXG5d9EGilhuGkeZ227jmIfyzYpbpfH3MBKdE4SmV1TBmfiUJ999DzYxQ4mkEjDqtqBYW39U8RuUYONfAoToZgsw12i803jLx2okakT5h5Yj2rVAn6iNSysg4QK/OBcMc3xbZ5/I/1xNumsDNOdhgDVA1n3rIADS2V1k2VqgFroZ3yZTJ5KvTq8Gxsc1rh/m63w+Db6N8JcC3AKNl2CtHM2+uFsoUWi+l5fDOzPFVfoL0hRROWi7Z1cskohaxcOlRAFIRedBd7KGHWLLjyOAoqUfS3YyshSYkYsfC6uu+ONNx69hblKF9iKhPkwtDQEZwtAvs+nteGkUSYZ9/fUpmnNWmG8qrzM2G2NjtSvd/Cs5Iw+KpBmjggvWjrVuPJu0n3WDsAwLKk2jN0V7+1xy3Z1uadKC8XO2Ya55RGU/wyGJDl6xNZN6FIDS2W/vdhszihC69w9/on81r2mPQxsh+MYh1n7JGcQtyvvHetSQukT1nENV+9xpAzrI6P9HpNja0+KmIr/FOg373vCKyWioLThnr6lgOFUp0I6PRN9saIsa2U4E7LIJYuGMo6mqc8cygouiKTrvZWRVpDA264+bHT/CBN0pyhiupcgLOJIMrJbpWVaqkb1+dhIXeiwi37+Oer+SwNUx8SiChn9Wu8A9uDWQ8pteb9GM5tZpkCOFWZnN8lPyngvWDPL2GY7fCUUw3czD+FRmRqymefjeYXgjsMUy6SxFCkiQ10GP8wHfXGF53dd9PIRI1i//qsIXR9MCAjfDu/giiMxqAAaDiCAhs00HnA6ExbRCRjZ67/Zp5e/6f9d3oGKD0JnDgy/FmghSuQEUVx4fF484oTsSTYVBdu9FffxrDfHvqzgULSKUtSRLpP1Lz5feb5ZlnaSIP1PvbjD14eKlp7uYOPHmph29fjykHxMA8Xkyxwf3FzWQMhMFKd1/UGyTixktqs7WGsYSneOLdUoc1PG1FXGRkIJ/5iXC4naBzJIshWcxAOHbqIy+vuMiF8moI3llBml42AxukVzkE8mx7vpE3KV2iuinBsgJ/aYCQQ+gBraTEMVocMQC2h4PS+b6o3AK12/eg7oRqXfK6DHV87woPDBsA3GAqmspUG8ldLdo9Mis+2Nq3BIz/DRGzAlRGvkpnYkMlyizJtASy8aTxvWLQj6RfET5ipb6iPNWrAV3QYfxnUxjjd31WPprw5edrfJN0A0B48F1xmfCHUidB4IZkKMxmWkvPVijr1AadEqwPZJ/Xo6cFCTCpirH9ABPLh6BCxx/Yv86O3KE7dqVxhrtqxZzVUoO6XtfSd4GmwWlfybshd/oi9iwE+RcJT4LgKlznige0k+ZVRqWTmG7NIdC4eI2BRgjGjo9yn2V81z73WpI/rryBnZZCgfWCinIr7wXG8KRk8+J/LJJ/xroWRIovbhmMzVURBC8KnfOdV72CKH3EZQQwh7LHhdVqufMNLwocxeXu+yuxGEITw7xV2bGf01GPffceYPHP/fuiwOv7lptLlXRcZzWWmQbOXklCHJ84SuiHM0/YxcyykTkePKIWuIBZkSCzWjk+NBkjPgAiTXrBnKf0MRp4ZsOVDi2uJ1xyJLSCFFAA/CpZEeM1Kf3DSwFSjWOGCT/y2K0qeVtka44ie7v7OV80BnAYrKsAmrsyX4Eah//EVeaCGRMFXDh4K3HtY0TBLa3eoK8L3zxj76ihISEagpOHCqmp4Dm0lmEfh6yQIemA3c/AqBSsfoBQYrhO6A2ipsvn0oBfbHHJccosRzEEr6hLM8JHEgCmh0D5qBa6NFutDMTry7bZ/xG3lkpZTi1LDKmPztD6w0h+w+si6pcAjrYgpkXSydM4A43B0HqQ0tpxZiQz6SLwAMKegFTi57l3bSSwyNXnwaROMahDDDIYCT19w7v8ih3jIczeiWHciXQX10cF7uzLqhPCzKkmSbNXbN7voq7m34/7ZeUaR9bNCo9n3/inhn6l/3DYiEAacoxpbELPPfZNnUyv3g4N7aoEJFdeTVqeTHYRd7riBSTpZSHKNEgyofAS/+lwv5eysY1c1d4ab1IMAEK265knRKjtkxIGb/2ZoZMjohufi3Oe8cXG4iiUXf8GN8gwJRNDvQmArMYpUhgOZ4cZwYHBQKXhbfAoxquRyJaQY+CTJvNnusKiUwaUJeHwMILYxf/SAjPlvhlvYVD76hfBk3i3iICPmFitLD3MNAT6hIh1e8TvRErM5FNMNE+RySuSDIaDFVo5BqxtfnN7blLEg/ONUdyxQMnaeOJBWyypQRACI5OJcS7uLr/z+lQKn/KYeNQHT7L6rmn/Qw9HTXowuZDWuFcxA9iuMrzMzGQjj2Ig/3ODmme9C7WuNP/wEUM/AwbgSIGjZI4hrkypYiV34MBaf4G/JuQnJcqHx9jGKWugIQHrpTjtefZ3iQdqnfs6/DIDYvoZw5o+xhcv9kJNHfxB1dWRmfh6R2YXkHRPuCg4K8TdfFD4jGBHUoiuoRceVs08FLuDxQ4pO/BfEDiM5ybzeTrtboRSL6V7vu9/qKQsF5wpN1mM+4qlbMAUaD87eb6GntWmX2pBn6N1AhhvrsoICf1Ulb04hkrluaoK4nnIkY1FYF58AGnwNKVHn2fnJbhpG/ULkYEljpctLekAvcx7PBOjVEQHcLDhu3RAD/DgIVlA9ue0kC6MRBsl0GWQ4/KoDGVoO7/Rl2kDT79iYIDKkdWsNImC0mkYBRqPey+4167GOG9Hkd2fTjbYeJQs7M5oicYwgHyCzzWF8xtwNUQPqWU36IymemLhAndiaKcZcWxaJ9ctnofufmQJUHMe1CplSY0jGKkrRdW5h49k6eHvr+2Xcs3UkgosfOrs1efz2pUmw69QfUKYTfZUnk5RfnuLwvwHQ90vWSoFi5xK7+0C9hAylQ+YwytNGEfMiGGdU6gOOR+ewQJJONrPejzwmXlWMIiRty3/X6gXuiqywA9DqZ6NpW80gWlScbCym8TL8vA3ZUGynOnl20i4Qly6xvgcBhp2jqJb8dnNswh+fggS10+mHfttaGAK7EwR3iikypyFJ1zEt2GgLW2nAkGIpNDqHOPHtwa+CcroVj25MBFIDovAkfS3ZKAANG3sJa7E4/SBghvCgR+HHA6i8raFB3QLP+2QrOpsaEDz7q4gcCv2LO2Nk0zDRJhnx1DHYObqYhE46pxo04Dl7keXpokvvSXl8MiVKiItxbV3FsgVUr42RTZVvkC4VWfdIFCvSPPFFgeRUJaQftWty5M8Ebg3Q9BWwed8mApcSdXszpdvifri9SB1DPkW7+4msLHLadCM6MOJOIR+lDeo9hmdcUiX1Tie5PBy6Hmlj/1U7l2TGNBJjcKYQ7jLD7oXyyRewERuYw3l2CcDvr/eHMrLswMlXDEc6kHmg+yv1++v3d3Yifu8F2QsHhqYQDjeAJ5q6BZjiOnBaJVpkTNNQiTnSBF8vVP1Zu1jkFJt9B/TKXyhj9B6UFQcjUfk9Krut6VBZLvhl0bAHjzeywsDz93ks2NMh4MznmiXuLOEVhTdsc8sxxrVGGLsdA3o7HC+SC6ZtythaVVeeuBb0wuoYIA455zVzjPllOXta1gjD0fdSXt20oRCwi27Cna+KTxddAa+HZyAtIlHr/5a0gdI15zsXxU4YKTyucdiz42f/uuUkCm21iskTBQ7reRM7jx3rYDa3e4PzTjWsZXltVgKvoW7sf+Y+CdwJh9uNzXronmgxMhtBH/+KNU3zd2CO+kIqwQNtYJw71HeMhkuzWT6BRr51sa2fkI2yrThmKmEdrwi2sttPOcPQBKKHwnpYzMV3VbvYbPj2om36Eme8T3tkYc1Ym+/b9XDvDzfQhM6N8EK5C5567wLkTQixoW0RBMmvuIy3+2AGzbK7L9xiREMuldj2fRtV4zmcsNevX/w9A2gp/WbrBA7mWtMzEqEIyjIjChXO1k3vNy487adKYXhXs6S1gZlPG9rgZjKz+l8iw1y4WKOkfnhBGo4fyVHFimqFlLfpE0Vdmv8BsbVKPqrq2mNvkSqcRd846Wn4G+D7fT5C+PMrcS2yQTF78Q2NMYe5Zj0iFWoqIV+KCRQr/NKnlz58IRH2EZhy1mbSgGo6JC4urL82J0JbHIffRTwsbT0B7dW5c3EaTyI0VFbJDKoghvdauXoWJdl89CtFfk877prrq9/qQukXto0aSb1ZGwpzZy8hU9x4EGS5NGQwingvREW2wxJVUU1QR7bjddaaAzY2bw2FpMWyMqZs1W2ZoJlfXbYso3AQ7Yuu86cvVgcoRoLWwi2nY3HEStJxq/Z4OmFCND2ti9tIN1gEx4SPs6+KQmtfM83UyXChL5SdkCjGOpiNKPVmkwpWTtVbdQAgXPRXkAPCne8TxB3nZNVjdcD9za9yA+ODVRbifaa6ZFrIcJEvdnom58BAE9LzFILAnsjq4meBwmFgPNCW+80Ix+/Cq04cUL9Kj4DJQk3+7XgtGNzCuV2zLAx8pY+9nevjFFY2KsrlDFuPDlwSuY2UAJsPicLc3V7ZCU1SF3QIdrsgH1yYuffrv3NyNC/hHz0SwdCbhJ0KN54zjkHV/ZS8ue3Q2wmt6Z99xIm+h7DfwLN4SDo00C4OpWdLfO3876YmO5dDA4RPLyJaJLhgvojS2a8K9MnNiEffmxgNRyDjC0x3wBIzY1MeTOrJ8yTjuKT/CXyuPyFNUVybW+dXWMZJv6tkhCPPf+uZm+IMDbYneNl/w2rpBSGKS2w06H37fcoUY+XDTFdHe26P+L6kNrLIDSN3J5se1sRySeaSmrBUIoo2x/340R++/UwKt8VR7+nf4zLMegQkjQ+ES2Lzi7ygqY5+KxX+xftM1fG7tlzl1aPLg51Lq8dHg11tM2tMWIbEV59lf8e17ui9Z15q1hgePKQxfcCZbrrCTU4c2FAbMDeDR3P2bdJXJ3aZM7kabkkya4rJV6Ux9KUylTLTIwFRpWyvfKnAD7ziiYh+lKcqkF3/AZF7UgGb/s2HSs1pQiVDdonDHfx5tKvcSAfSeSdonTCebQeTwKG8nz82E/CYQ7GEhop2mc5moAabwSULVtHvpmjyNcJh8uwVa2isFXJz3bV3FS1wbAaQyGeRaCGi8elpeYgGahE2LGjdaJwfxLyz7ojjku3FjOKt7/2UirQB2Xuke2V+Tf6iXlWkYW7c25LCMhVMuoRQMG7wdCNwZpxeROQaLC++HaP+PYfqZAiV2qzmQgH7gVc9b+4zr2kH+GoCR1iJyGgl7kmPf9GxiNYr7QyLofTmJN8/lnvOmEXeSc9GS83/sdBq2SZDcfcG7Jrck+fRvCANb0HZRC+xsoXIi20FPnVk9dm3gAGJ9iQlBW7lXlk73IU4IyQIa90cSaI6xNT4Xqj56eR0DBWEVqdDBEjcYc1FNJLyOud8HJ0PyiBUaCp24yczpIx/QkwUsL35UG/zI7CAAS8ALi5fG3ud3ABhixYfDLr2gNSnPVMGFxalNVRsD0aZloomCh3YhRS4QSZAn91hey+Eh+VHNo/mLOH/pAF2MYvx1V0Yp2scnb998ZFI6ZKMxBiB8Hf9VVMEdnLF1spnkTZVTUN3+LMJ+ue3IalkkumioqUCyejZsg5Ac97UwYXknARVVzPAB9feURTQDqEucq5nMeOs+YPVbtQFV6ESvOdMwOkXkXG2WIZKexgFb4PHoqcDTyCyf6zUiTZFJ1SDzWXjeVvYmO1ybss2tz3TD/D3EBTTL00cd10GukV74pnwuA06abmKEmZxd59ovQBlCEcjjzjBO/P+R+zd+Y6N46utS8yKjqnCs7lDIjE/WpZGoL5/i8Loou8Kxwh4MNnjM5aiJHQ4lLN7speBihPMkDpjDrb9FeDY2325Gq9ZyetN0OBQxFVsSP+sinfVnKJ7dLS6+cPzltKOrihLR5g6EXOX1nWD7IkdfCX1inyftoh0ZLtmUc5F5+3Va4X1zuEjJgnvMGyGVj+4/wL7xBqxBbNOd+VkyBDYTle2jokIJ2NAatuLcCxaVf1FZEcE8pbSAMSZ4Xy+fPkMluC5B7fGevs40g8LzsskRYtoaw8RJnyRoWIjupPr1HL7cwUagz9sMXNQVzDMxXYNCR209FnZTRglAB7im3BI3sdgmI1c85nrHKXuWp7hjol/TyLFSTQq0vb1r2wuj4zS608+fIXYOBSXzy8iSowZmlSVejlO4LS8afcKGZTiH8cECEiH52r9+cW2+9GC6wZIZvnVt2UkJT7xk59Ril6ET1PuqBDdFxcoYpal8m930ePvKExlvo12ZfxjxlOORyKnvYvtuUpuTGJuhjbh/ahM8uelB32Ohi3v67CL+77SpVU1nYd6Ifzom6cI6r6qYtLZdlU1rpGzgOXXKQa3B/g45cF1VMAvbgpJQ1rCYNIi4ns94sy+1Rp8R8IFDUIxR4jndC14fmkMJIHgKDJSwYiEhJIUsdhzV4kmhKkqFeF7Q6Y69E5tOFBzxQtkRv/QHz8xMpvVsez+x+rig5bD6zGmzXJtS5YkhGHt1EOA9C3Mh+lHX1ZgXTava74CvDo46MvRjAph4/g9G9gh7exLdEXqWBN43raiY+PWwlrasB0BOT8vx93w2tA8+jIQoj1vI/W9v0p5T/dhjfLKWdItNO1PFceB8rwWrGFlrOwFJcsjRxkmhRLa0Cp4DDwLCVgVLA72aSjEVEYFU8aqF+c/+VObsyqttctPGnf4vt8Oc9Xb1pvaagFXxWdIyLiEdLqaAq5g300tQImob4EBxkbjHETxokM1ONuyTbCb5nMWnH7D7WDNpMoe1MK2r3tACDGQ8RYPk8krpGOkE1vp7OGJh9cSdtHsNvikJz15/AeEa9ez/P+AvpNpwne/kE6miqMJPfXssBWwrWONDAS5irR5le1QGFsqEVclwcMqkfVf+kRP8X6P9+peuD4302N1Pd3NBZvmPqIpWkCVfilKW3lEoYf0ZfMVnF0cZ5niaAij/EASagvHxj8mAHK1WtBAxlXJdboF7T6UOH2BRsrZJ2IqnldfvSa764ZtMP+zha+MfKaRgQT1yPGpZ3pQVVMjUPAZtKRr2zMJw3CQSfYw/H+JLFIkrGv7AxPKGV8o6P6cNxR4Y4xENKr5b3XHhHR4+EVoEP2F089S2y+NfA1Kl1Xm9F7+3Rgkb6YTPxovIrNBjdD8P09NlY287D49wa7jBTi7KA8EZbg5tPOP1ONcV18CDR/3RObddGofDppkOQLadR2EPkH/TYr+z8KncoCSWNiNUGj0y0wwX+aZAcuScD6HoGBUfr/MqOatHv3a5c7MUUcy9UcmSJl2SHxYXcFrra7qNtnotFD9c+alJkcuXlqG5fXxHxFmDN4dZd+WOZZC/sffFGNrxEYcGrviepflO7wTMJPLWtv1bVXwHo8GkqRi8hfSUrZvUInCraheY81xdD9DUvFJFkAaJf2EWkJZ0G6U2thSxstIQxceeJKrX6r5RIqeg1RjSuc/6+cnVcrX622NHFskM6g3ZKDk/EKedBiKUV9uwprJBCcJLnOIZsIr6ch29aGDP+9UaLIA7F9TUOC5et+Wiiid2VJSkhM1zQhJdV8GeRBHtn8bigohgADHdohCi905S1TgbRxPbxOHUXVF/wQsVmEFmiRphyGDHwHJmfUJeVOY320gpdkM1RSsyg9eO8WeKqQjzYv680PY5WLJggosaqmPAsO6Vjd0Dlppqw1TmNVAB1G22Tt6dqgFc2R2nxTB1SO9JgHhI78BKQZfDbB93n6Rg3uG5ea7ZmajywpYDRrG2JIA95LawIIPr7TF2PUnxN4I0MKnGONkKvkY2VzhNtzhbPSOwq57SaxXIOwllpRBeObimyENrRCrLA/vl8FNhBDJdVUwXd8Oa2cEBbkK8a3mLLqweffikSveMzKQmdVqA+orG7N4IEGV3K+mN4JJ7pWk/JjGRcAa7GXPWjB6YdkDnFPApjmiN/YpsgzDpi9NazRqZ4oHKq9nUkT9jfzT4V4vhtNaha0cMT3IodzykU1UN6HRbrvtSpz2YunIW1IF9K6RxYPDAksPbdEsTm1Elhs7UWYrIdQZtVq/FpM4k1rwKaIlYxY+fq7eL5S+h3T9LOpIPAMXmKKNePxQ5FrLmVUI/8hhSWkfu9aoHGw9JpH7aK7CA3/Yp9Bh5EvI6hr32xsei8tUDJNn7V1KA6YSlMW4f8tmB4eRw5JDitBYs8feiomBcZPWK3dbWqywpefzJsNaispdo6G+qlie2rloZnHJd19cjuShkThb5FZ7GFjrFSpzydYBNeKF8yfRNQDRLvxoNJD7JvU+g8rNy7y//GH3G0nNoYENmR0SJUSaU/Sf8h8HbxTeoFAaNgxWqC/oLxrxaZExcwaQ8NVbuZY1JyjFM4D+rRNGcc55K6F7EBuF5B4RcMa23osMuGYjZkHguwGVSdSbgDEzwAy9eRuyzmR1u16sBkfI5mwggBKIVelX6TY4J2Jc1SYyMfopaCQOCuL84bAhzDNFRx9lr4cCG3bXzkMwa6HFlKn97xebMN+9pMeyMhXLKCJ2a5lFTFb3yEXVxvTdrBau0LUKfp1e3IoQOxnjXayTsiPVakOG4GtB3Y6Y+XpLM5F20oPOU936lw/QMGSYwjtiMS181WFlxE6iX83UHXwpIJi1ckzaxekqTuWZnfZMqcdIwPkaXehy0FAUVKbJT1FdjFIll8nrgMCVgWCSeCeExazsup7Zn/h4jIuGmn1ZIuzemEOW8DW87HoV+Mi0AgCF8402RfPWCzU0F37GeNvg7x9eAxea3uO5AGKAE8OsoUvE9moM+fsRoFLw4K6O6I1c9KrTOnoZF2DSBh0eSpZEwrM58vL0fnqHKsmKIA5sQbTt7xvevJSAO30uSQCH7qZE1F+hh8BeRMdfQx1Dd5tNedthPgIh4a+fA8M111EutRmsHM3zBX05m/OP5hzr5pLwkzGNQjyRhLeTkePYuDgIjxZF9m1z+jSF6cj4VBz3uDYBnjyNokR06UNL1OqJuavFaW8lY6MECq86fTTBy0Hq9zNZoMuyR3yJmVn1a037NY4ogWDSXfKS1u8IYRIv9aSTxDz8V+dskkKOU3kb0tmGq6moUvcldW7GBNGzlTW/03YnKY7TKsMvG8gg8qXgofjU+oA2OyE7K/OOYNNXeNHm9sFqgmHhbYVpPINjPTPAE1Y/uONdu/58GceMHtVXhyUXDpo3p4W76yzM87mWXtFkBIenT/fRQI7toO96ou0KHW9/UtykwR5P75dkngtQx4LenRZ9X7MOWSg4J7TzuJP5c2CO+SLyMaFJcVFU4yYoLuTS3pRPubIcmUtxX6Wp82J8cq2e7g+X1XXxcOjEELZ4VZjYzXH6+2yRROk95jHoqC6YmITEKlQpDKinjTiklsXZsxFdngdF0nz07RX5zetCQFAJO9NEAfjRsk9sZHZdyG0050p9HUrSVZhcHBxFO7h6DTakUFA8HF3KZbqRI8zKwc+839XpLo87WA7EejOYy2UsEBgUMOyVnH9ip4KTfIG8gtvL9q+ngFTEEUMOzu1spd8N/GU0upOXqdvTpXZVOeEdOIamWbnuRY9+XnpcoVYBBfix0MAuNkv/3bnmKoeeU+MCjG+sv7nqPCiIn+P3qzmUkITqW5oesaUQjCPIia+g70bXmP+y6eajMDYMwsDz/+FVQxi31nciAjI4a7OWaV6ly/1PZHYCIcBTZ5bNZTQ/WTbCt06fSZZiCzYE4mxi23WnpZHtCT+aDjR64Yh4vRLfTLLc1q3b80OQb9u9LeMKYuG/dFp4v10s3v2aZyOZ2br//7mpnVPSwBzaon9EIXbu2FgooPtvYB2jEGVjXnNm5ZTAbNupflyi3nQI3Z36AHPYkViI+z1ujOrZTmEzFqvLMm7UZYp88iZdGiaN+p+LUqFVSdiVhNI+ljnmdJj8SFt9dU8QjcJPZ8NKQMGwwx3hcZYHj0ZbUO1M5dExxQwt2+dI8NHtBRy/Zx390mYlnuAbf5zOj3n3WO5PH/IhgPvJGsLe6tEcjFJVfXi8nYjshEI6pu9ftXjbZebjWmE1Pq+MjWCRquh6llfG1SkQIMYbez83c8MxD/x12IGSW08hdeDSO+h/kNA7f+LDnfjjR3y6Ub8BUGexkDd5E4V9kWlOJml2b92HiYfp4ORH3bgqeUrYEI8nKnRglSYVM8cadOLnKgPybPRAwhRloTjdAP7uJIVOtWwkroI+abA2vzK3VLeHq1ArvTTQZY56iZ9e7bXXZG2xK1lafvGQOQrhbt+KMhPXyyeJO+Vxr9WuJGQiax62f0UtDsiYti7Luciz4eMu91UoIO/O3CLPP2HPvEqIV4+othQXGsa/ZGkJwoj2Pu4Yw=="/>
  <p:tag name="MEKKOXMLTAG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1QIPyzdgiLUyzw7mgd0jqO1F7QB1f63xV2T3YlMOy0zs0D81Ub6O/Vm7bR8vy6/faHEFgfVJtZJzfsDee5X5Re3quTDU/YhWrArv6SOPf2sO644nET5Qz3aA82cs0pGUQcGX08ia+AjSduKdOACHlcQszaFsuEd6slKMK3qzuaAQfaoRfInBTsaKZW7gpkweTrhtuqxpi92dZCCPsa8Y7j0oM0P2/gkciLJSM8NwHhVhgU8S0HGNoosU0MhFb3Zk3YzJku971I5rlroYEXPBRqW73ZiIuN/HkIEOwX9OwL7yfXFV2G9I58hSIAe4P4GKWO6OH+9ksRwvDAzRZ66RVmxdEO/js59hNbgk05Dsqzt60mBSoGR/oIlyApw9sqVsDRV7pY6giZJhw4Jz8Wd0wJ1anlk6J6d3TGeTlfL/GAj8dAlQ1CrfFZMBNprkp7qJ+/CblrEcCokwI1wYWNZCdL7WSUM30XMCRcd1CfpRkraor0NX6xzwKdyoThZnQcMpHtRGbQ+DX97D3Oez8jsfATLBpXxBmy+/GIPnGWsuqHthJh7VJxw82P/Myt/CRQSMldeDQFCa3gon7evCX9toc2ncpVWa/FnxCA4FM0Gzo3q56Nwt/aElFYxOF5w5P8onvKW6JhnGrQ3/38a9xmUsTQd9pVgHeXn3ZmjzntUuidb/kCVVCKfi3a0z1CJs8i0um1xqKN+2T9v/ziGzKTKG7Nl8G16VMNVrF3XbB9uJlxPdPIc5n6sBQ9JZJzCmJZjCGSFUUTjGFUXGK+9IHRwW73ZA/yz3JEE4dsSrIvHnRANRAoNtuaJj2V+ZvVdglq9tdny7xRtpHMZKUTIPlEYOBCBLsei5mflqlw0bKsbxbrNjlHzY/Dg657bTTIriPLIlc6LvLpbl48V70L+I9N2iDwMTLbhax3Edp1eETrh8c6TvQwGT36pyC5UBQMlj6/aqqBLUSnqfD/s2WtvUbJMCicoDw2WJnXvVkY7FS0vVzyUEQ3sVVGL2bCngvoLMAv5T+ym6b8gA0X6Ck4E3ubmbk0p/kW+1f7GeguRHky9Q9EI0p6Np66w+478q9z6EP9n0WODQ8pLzAuRLX0QMfXqWQQ6wheO6paKCKZREwdxm4/PsPQQVC+9KQcRCYevis2K2sB5r9HGHqaJHomDwxHHXodZwnJhCIuqqjkloUk7H9p0DM1bSoQe/7wjsT+zUx5nuXqB1++taQIMTpGu4RN0U3pDSIsbxSLBirCKBvhIqequJfHxYZYSgQi70YTkR1nI4+PKaGf+sfnqCQkcpgvFG+yCcJ85vZIcCZkROgMtL9w3kOSFB7z38Cr1JdtC86myEvQxxrirRDMfbpb4XhQFOdvDXyWtZ+skyCrSo/YZWODWYIGcTaNbkKiY76HXv+wSOWz2rveq2EHPE+fhCy31QSMy57bFJTK0FbXnECrM2/h6R001n524Mv0zg7uw8EHR455Yd5N1fesWdlS0QKPDCdfHiTcuZRIv5YSbPYoUnlGLmiLZqd+Fszf0yNmbs7qiw67ufL0kErJSBV3nliwDroYR6zWT2shmo3y+OpO9Pogp5iq2R4ITy0aQOtKpey6AIqI3IXtJ5WmTxSImsxPUhtJk7pPXxh4sCUMipTtBwOrEuFR8y/PkchhQdIoQ2vacos2lMNl3dImraVLNwxeDXivrmLpAGFLIubJFqs70G7DOKNumjcu6WMcydWLsXvYMgnDF4BMG8JHgqAAJpCZJERMX6BE+DUn8XqAwQGRzgi9trr6gZ+ev4lE2x2gbGWPkqvpUxuDLGF/1MjDstYQaiW5Z8Lntf/209JVnDWE3nprHoQheQk+VC2VHM1S3MoLg+ONwPiZnvnB7eqrhYxqDcfDJ30+FASiU8wkQ1T7X1Gi5Xi9HqYitIih/olGotTyJh9tvT27NCurwzelrsg2ptnCRKE87fVytDJc67ZUyWLCm4EbfW/wETiRG1PSRhIA+53CbKWmRbUKS5pRAsAxNHEnz/jfQEtpjGa45Zyit+NwVDz9AbzsEHjGRZ9m0tPdwtEIMbmU+U3NJouGlsRt+XI+8aznE2RU0GLP9vI7UhxU7z3eoo/kdB83fWpJle6hO4X3xlgmCkv001R3CMVcB2ykLBt6mAMAp7ycIDycVoIT7uZC/+pg5hilch2fOu6a43AOPzcpr41/76wgBXDEOxic3/oD5lGrz6PxwErjLw2n73GLGzvIxAs9flDAsLoiJPA2oxEBejDjtBi6xQMdT4oqApdDSnzNb0o3c5oUPjWIlSGXy5h0jv4VLAi29GP/Wo5oU5U04gi/njvaoim7MmQ2MKerLNf0tWvIsFcu3/lJ63IUWXABFOAjsxD/5XyEYIcBsNCQAAH/g7LTMaxvH2zVImcbqOOwXxjdmApXQGVa3Jd+N9nThHo8PvJFjXM+jqQ3dC8i1hphdsVs6s6Xx9uT+47c3BpQLbPI41r7rSa/VwUMkkip5oSSkojkdVsMfcbilhaQ0G4hxhEjTffTqcLkuKocUCkVC/q7KNTWNgikdp7+lhooz4gmyZpVXAuTOHvRhWiJS1T8hu5W2cNZSWAucw0i7W2b6P7byyf2bftPHag6B0oUl+DYeBVTBJ0jDoBvpHmFq4iLRnEjeHLtOhM3tXwnMEfKqUy7DYTwxVKHU4mkLEDx8wzN+NByAjH62Cs56PjeG0SfKJVv9AhJdNkvY9Axh/rmYzEGhNz3JCW+l175I1n7+zLWSYaADGEq/BX2255LY6KTKaA8XBG4GbhfbvMEigq7ejPYpyrgggUkcJGY7IonOnFteHhxXmHzCtd/CR+WmSBR5P2OdVvWhwspKXq1t7at0yRRZwL8jHcXXq+/dOcW9rhrh9QCdcptL3GO8HrlSWemQokhTvA/35xNTEQr7yROnAgwHSFKbxPflevUm5Wq1Pj7OmMUdRRRPmomQ/EWm1vq3WK/pPv2AFdNGMpi0jO36QnsnO/AlTdroRclxMC7fA8wdcHYJ7leacZk4JKGIh8eloe6lK2oX7oCUB1bRciHUCasgWAR6jHNULrG+aFwOie+RQ1kG+um/rtmGXfEcIFa6S+HGtJ5FCP8/dg/ww5viJDHWB5apZY5QGWPLBZkIO8LmI0ztOIjFOlQHLXXU1k7eMMJaxyUeF+Dd9zbCGJD2D+HO5yrYsWWJYx77Kq5mCxXtd5byNki78+0qciWsMHpbGa6yYDbt6zB4PCo8iOXPtzy0ziNKHqeXndXHyQXp35KLIY891KkS97BE6USMgQkopm3nepUZrPFxoyyWvh5AXjQC+I7uLqMKBbMyzGdhT8DFL9LyMupLETd0v3M0U1l1jVTurA26wr69IwRro8a0eM7tE/Sk2jSZVe9FcVEQl4msIS8jcKxcOBvH4Z/lWxf2QxvYl+e/X6LSTV7/6i0rcdYbEymuQzV44XLif423ADfhepy1PShGUPlcnPPdrFMrxGGkjaSVdMDw+10qj8UV8SH2EdkvMSLxxlHzrFWOdSz9TcAAa5w0UlVyAxLKBukMQJnYA3aarWHDmTEWyRNTR7Y7z+1P1xWUI0nDdUYhWoXiDo6+J5YMuEuTgGBWmRZGHlkFA9l0MYieau3q3qo4uawmJ/UELmjHU4v3tmFQy2qRCD+cSLtoL0+98PN7shRZX0jT/tIY6YWBjbPmgT6N3C1zc/A9hoTczxdnHQ9Q7kBXN/7bVFYIqy5fWXiRLSWDhtfg/IByngv1GC/UoSO97VSoKkjJFf0806aClkq8j7w+BkpFDCl/OdKaycHt/d3SvXNXHVbd8coYwyCXlMVvHf+QQvQMb9ZTnQrQOfsJ3R0isCCmy2yZFogh3J0ory25OuCiQUd77cAtkZnRzoKN4JzfUHImun82swgYzjGqF1IsSPk9aNy2EH21Yzlu15zNfBT3YkBibL5xthG4TcPTu7PIr33X767MXui63S0YhXGx2hemHnU1mE+fAmhAMrJNxFgMmitRBLo+swDURoUP4ukTO5GKsHcGHy9LhSG1vdT/2Sm3DNBPIaJOiHbqpQOdPOkHfxQ6UOsaB4hmbwIWM8rFTFCbgF+pQoqs1KyOYem5CsqJ/XLoH7eWyK+NeC8W3D4ByaXHVIZksyIPNKZVmD6Y1fWflGcaAlwHUNmQn2h6RVayT0HJ5Xtp3hQ28OlEnpJNvJyFJ7eeEpo1I1cKgaJmbd96OADzLouGWZQ/X8M7vUkq1sG59QpzT/DOpMBWrfxWPNaOECTv7hMLSCl7FoGjpnaObw7vvyt2Yxp+V4DA/buJoecDVZ6CfkZz1QIcOrSj+8LuuQzL5JW6PKKyMSmgHQoygpc52KkYZLQ3VO0f9zG1P56tAsaN2/6dXYFOAyOLrbVHdV5t7YxDKJaReR5ngyjN2k6K1nB3X5W/i+juzvB8v4nCilCX6Y49RhITm87m/KBE8Lppg/LM0AsqTcFpLm4808w47ONNWQokmR4t3yiQke2kg6YdEIIEMvQEKKaiwWuJHLliaVa2jv1h2A9Ak/3xiOjhYTw8Uj4d55j+zAlyKuuUS+DVrbXfAsEV+ecygGpb9Tu5HpJhcc6R70mdLlYoosy3Z2ssTLbRG/3WGUnltg3r5IsqghzaQN5VQRnNf58p6jjiz1/i3LbRDnicaNhNRzIoB9zl9vCqlLmqC1xsgl3sDIaTHzY5N7J8Nk+vgJeei8Gj6DtPs42gFVhWXtu2vstiWmYTTZiGQT+I8FRO8fucWM3YcrpaGk2q0fA9Fo6RipA/LqNGV835N/aR31MCx0pd+Ml+gLLRbYbbbPm+Cnn+tv+Q+Jc0nn9XNkUP/ihrKd8FjuIJV+c0XW5JLgsAsIgfrrI/ZOqLjvDoROHzbYLF+iutuuCFWJML0GHeJOkOlMTD1OJFCvAAo/jqg7TGH04HVg9VtNCxJk4M9ghVncYRIB1/zX2VWZMY8Uw/4gywi34BKn58/xe4ldHwwubC0ur+IdlvmxVNYRJWXcavObp1KOXaqFzWO6VqqSVEerVDvJ5RLLPpiNHjN+2EjFUFXXOAC6UcbESnB5q3BYRhW3qZ9z67MQcsp6iArPTyc68NO2qgjwrylCfuxrI7vsvxwC9pu6w3XJHd4mqXSkVdXua1ElWf09HeLoh2fewO5wfb7rtzdN3FNI3KAiYlRVKq89RrBBK8itGZU5UI8pK7dZng2oSMpZHxFXXoYS2rTWtqn/V/ZTovjFHrATVXu2GKhP/4FZrPdKOQg3VBW9+Kq2WME4cM40a36pRaVf+tktV77ofkQUyYG7GD4Lab/CglK1zS/aXUL63qhPhaHlVqFaTCx0QTwQGFeXPCpc3ctylDKWffTtA1pAtNObsriyeHVo+3VTu9B93Tt5eUfyVha4YSWfb1qVKxdZ8nYizWbI+laYCXrTgOUEdpitgocIRWiwX26kebowYmaeDMtNDcQno6iiXauAnt9s9+58Blrz2h/iscGbM7cr4vU2mkpW16M2AhGZ0Tw4T9Nd/ViC2F/PSb68xctMWQZ9VhQqilbtm+DfQKhEmcvNUYJ2N/FTwQvGXiYSel0oMGARIenDl1pq6LfnP98aMOvubcsn2qgTz6l2fmSPjoeEE2X0AN8BHcJjTZAGVhsyIbzQJiEJidyXRC3b4vDzVUh1fheHa85KZ9gQ7e+BMmEirFAJX9U1ARBb8iAqcirVxRrDOCERUARX/42amuu8OlwQ4R989J9O+Z+C1Dx/VvavUxvARb12gvQ80RuSbOuhxStVQqW25IdEwLkPY0elecob0P8rkI+H0PAdbYGF6M49m4zmaeFT0sn9EuB4QIO9KG+0lmcqJMa9G6p9/OCElc9mYINGOet4YwzvWHmWftr+MVtRZZ3u21g5Zi5gwZLR8Yp3ClfAbnv+Xc7OyOwYu5PhwynH5iq0LpXyE7/w2Oh+5SUFcRyvXrAkvM5KlXAWnuhXLj1QBeHVk2RPo78WjGUZ8Ivl2pLqj+m24leo0gsJEb0RPSUU7RbMWHnRluY9SjJd5pPuD6o4BCXnXTmOmtoLp2qNb8/AOLBLcLYOvrlVIjsG6dI67SImVvPMks4t0I5PUadRFdb2vUkWHtg8M+JKnzGF/5PCsrdcY45ku7pSlKWNAAAQAK5Ne/g/JlXgFC7fAstS3XBzKLthP1NIwp1vZfTopuyEE8Ifw3bhXKt+7QE9ITuZC+uMk5+W1GCDJZLgt0XsGL5h6dLwbsQFYiw2JmiphFNxZHauAxLdmd9eEbdBbxUrEgQ2qUc+88jXcwLPWfiHNHATsHrPwydHIf+N5X7H2C6a07qGCYD7Ce2Rp99ASMYc69dbqhlTnJ6a+6w81naCvk7sMGFWGbj2krwE4f5EvXD3/3h/XpLm6Y7YZxPE05q1gf76Bhfv70NHYArlY+Im4d+ZHpQUx7XNB1U6elD58ry5IJNcx0L/WbTF2Lwmm+oVqfbVKF4qL495mznG2rlF6X2O1/VCrBz4v0xzQ56hBddUgxQ8V90EE0ewoySaCMhGfT54j7BTJXXEQnAvZwvOSPnX1XYRsdGtGPYJabgEtGrj6x3udq0zmDT0yktftFg4IFImn7k2iQHR/LreKMByJtAZF/ZXsXFzQYq7uDaWxi/EFBxXc/t/84F9niAApYuVYKS8PNuMq30aioYhUFMl6Vz4Vs75kgWrSu8AZhIPcdda1yBRSWbMZnWZiW9I+3p/9xLZ8LodiAuY8iMjNKoxUsOCSOt7xnj2aqaC1K0Hg+LEqklU77OBjDA4uoVv2ASLOW7lrXhVmsu7Z6ckmD/mR7dTxSTZqJ8VmijbOw8UNO7dDLJVSTZotcMrwCwQzDJ8CChScX7ZENK5dtu012xdqWMbsn+zVOlapmJ2pbhrRZ7haNqTwJ8sOFpeRMuTB6tM56T+BYqt+xcly3PPqQQtTV8DZOjA2asaIYKvTtGgzNeF+RKxHU7OVSW8yXzs5IdDyqKPGgXLP4wFaGdW6a1/EYm/6m4BYSxP4hWHNbLiXw4cLtlS0J2ytaM8qesTUR6HVEW1rUyjYP2UfGwRSnCvJcFhqLU+QpED/5kscHxwPCqmb4Afw11f0jBLMdJNJC1QKkFocFdSZGVRYukWCQnIOfSsHO/rQ0FC4DVS+UcuO3qoABGWC6wDCq5MxDssp5qb8g2NVO8TDURv66C/zs3HboKX6TAi2uJSQH6+nyiR/pLnbJE548L3lAQjuqOghTsSsvLTg3zyEu/Np9Euo5oWBWj1hhnAFH+VWTnEOgWR2bS6Xp5hiICfMkmBFzMgSMiNkCQw9EwZZfta5m6mNVsMRGOwtm9o4oohG6w9pc6a38NGKYrmXIJ9cBGv8sV2rM/Ev2ZhbEGR4dzG2W3YoTtikTFKMgr8ZZBCGOvaua3X9oK6HTbPr6Xb+69B0P/wPcasBM2BJkH8hsYvGQ+zLrbXfgjauhC6vpnFK9ci1J4gb9jTULlAkhlqHAHD93r/oGQ9nT9I84Ni3LgdNFWIm2v62suaFqTAmUMYrkjfv4NLikFzePPenaUMYZi/Ty1zZ401B9SL7lkTqtEHn5mF/qk2wynOIJCXS92BVwpaPt36yxRAXJMjGyC1TEp4QhBusRC7urLyiLiOYIY+DLNmbadROZU4g/Ai2hUpLcd3xUf/lg/X/ZB+jJwLv1gxpZddabjxn8SHuC105Xrn48PEpKx9RRoQ9/oaQaJ+gO5stD6/NvNSNSt70YGMQpW5obWdkvPtCzuq+/g05BsPDNr78KZd96OhLrExLAJGiTxBzkrrhhv4/mhDurJw/DYqO/kpwbSEUvMY2qnz4AXvGY7/y76pV2Syg2jXbXdWO0tp2yeJLknS/MlHRibdQM1aI+jf09h2acbLIuug+6gKZBHUNP3EWl1DxhH7U7R46vh+V7QNJqKa/MfOzSzA4uVZvpsVh163lNFDCkdIkMSqoNpAIHXtcn8s26ydBcDPNip8YFnJuF0SSwBxd+1LXebI+RAmZBHkKYcGHMjLG0kEhXjdRdlD5ZOnC8Y3ELszVh52h67pTxpR4s0JppZuUJBoWcgR4/PTB+3vx8t2YRE+367pof6wveOfnoaEWTn5G5CEJdicu4+FewnHJKUKZviD6/NvMN8nqNAs5+rZAEu6iJ6CVvNsVbOOgX83kTCzBmPGumep4KaCVfEqjdaLbfBlclnrRWRjHEI9B6U/+WIPhGn3BjABj4v8LzQ250+sCUkKjfQuC+AwqFHQH7JKE6UPy+6ehOl8hjgdRCcETA4qw7vc2tQwUDsbVcZm4jqvkDtudKsneoquTZLWUNN1AskH2ajG1B3v2stofROyMWFjC1pno17cVZkk50E2ws7atMBsLt7unxsFhEf2I0rnjj+/hE0FZGkHX/gRfw3JRtWslQetnkhVDV1lOkWlsQXbCIPGy+onPyiKzsLlmEmtp709H58VF7fJkjJ/KL6dumr4di7E651ME2XkmYPhf3PHMDJDrD9ceFilGHKZeLtJ7WyHsOpzSbGoBHt/zieifSRRfCv0gATvASZCCLXcj2I8cwCgc1Um8CO7QvLnLNJeiiEcULYggENmPbAVIxh8xKNMkobiO0dXf3auIqfy9MFfbUd8DqlpTPdtR9dt0VCCX8EMH+Oiiz/c2L/OixwQnuLsl0T2ZYBSBcyHpSZNG5o3Jzq9zgAx+KqIRdk9tXXcmc2VaOL8Q4Ro+odd5WokUTuhGIeuR2YGTwl7LvlDOq8H+P8eZr75WfPp93UNB1Q+dEJub1GXlJdUCVb0IOW7bsUgOJPYtlk4hPuB6l7xhh2JJxBy6x8zLuPBl4AM9TTQxbo6EN1MRvu5VUq7SxR5vlIgqRpJXF06fW379LCR5daLgofkataVgLCmTM3RDT0mSklAO2g7ZAUqh4aw3pODZ2tdL3rbXGKGJKTzr1BtWoZJlkrHv+e5MdVebo1hsbH+10E2ZIbkJjS7F2K4W85NX/kJzcx1Bs3GwT595YGFm8QvUJG2wmzwqzCyR0PZTYaznUVgauvS6Q5u9D71xXcZcYL5z2BPkobfS1eT+a7xc+HY/RW4k1PVn6YuR60Wb5mnpG/kaLS8KPzouhj+2ZMP/+KlHR5AmIUBu4CrDOO5foiKxbfrKpNY0DSNJW+2/cOl/zrPvba3ApGkx1UAPnSFukanyIHVKjJs8mbvkgJQ/hd7O6m+hNUqVp1YFMx/UGn2YshBMKMfFOiSjuze0BBYYBNoElAv8XfOHkHBcGQ3FNR5yBU80eDBFhG+2YfgJasCX/a+80l8gF1lcV237MbopsiNGvLFukm3PWtMnkE0AvWcVYYHSVXIA0aVEPtWHSAO0rAynw8j7k3Omh5o8aCjaSjvWwe1wmVKHJlMH33Q7ZzIn8ATtXFZ0ImbNtg5m+xvhblNm8jQHGeJqE0LsD5lftcHO44kSVkixtbFvtoAHdsL6LvpuC+8AdyQvK6k49ehECwpwzZicww6mstRUeAx/zgVid2dIC2tgxT1WdYDFyxf4k9ImesZXY7/zaIbwN5WqjGwUfgvNI2go2JIYSiBS3lHH6jBDKgG6izlaCB7QX72WPC9P3kJJV5Z57Uf3cs45dRpqcQkdTHjQbRMzcYbSQgDsq29eMJTGc3dGD8Ita+iiukL6a9nPEvKaIF7NSZZTSH1s2GFtzAnkC/D8hgD1lOFoY7f+kUZ6SEJJKZgsLHSdA8vsN/c3amrvoVpl4XvlcWv1zODizu97h5oECttmZ2UN5tcJ856kQPxH/hNaJ5nPoYg8WqEiiFAHs9Rzwq+lTrWlIbl9un/4mHHk3HOkeeq0G+LNAkhXQ4Crf9B46RjK+NlWBlGWbKXbqVcxVsL/xjZnItqGjQ3ypJAIf4Awi+UicAkst6qQVbbna8i6V0hrBGDEfACPtBWPVboCvX5kyMduqWFLvY6m4PCyp6zMw5wm9NsGl2dAEiHfk/xCgmN5NAi9O+vWJOYDwJP3Zn7Cc9f/d3CG33Yq3yaH89iAB5kCxG/5sXN+OKqgCXfa/NSZBSyjA3n5H/M0ftSgJ8odvANRtiQu9jx7xwb4Q+77PTHgEMw3rpdQdxVxxnO6GPQAUXuF4GwxdX9w4rJ3O4H2ffT7l8EGV2suQT8WEJ9Fb6aiKwNKfQ/+owhWK7IM/FzZ7tfrwpOWjSduijCcASrEaLMiH/uokT8uWLP0OY+PUlduKU1XboZMgfszKtAXZsdmiSnd7j7ZeqIQXSQ6/lnGyvYeeMMlqQih3HPwtkblvZeYzs5u374zSf0fU2N/N9FPXujdpKFHPN7JiWhDOVVqdyKyHHzWrQbe2c91JCi6kZMklfqgo07rYbESmuF6V6/rfHocaQzpkh2KToboGvZYBQPaVx8KOk4ZbiUp7apkhKzGHEBE4g4Zi9TsTGDsklaRkxHIi7p4l/ZuzL4sLwnFSVMhTjOJ4QR3Yd95ikuY0Asq+QoyQgT4USeK/Zhunjj5AOA+BgTC6j+Wu9/xaFk1qTzbZVzL6E6jlkuKaCi+VjKx/Y65UqUPzkBdvOWRIpyFzd9nTW620p33jiHeVNy1ha+WnOsg2sIuNJYD1zFenuVt/lalLL3ziogd1hhN5BnbeWgdlHHzbOqCdO92SwIHSLvHfun+VfAYBNsh05qwkj2hW/OQxKghzawPojADMGDrTBRbR6jKx2+YuXcGcelroCQ0Z7O7foysPUz2Xypy3eNi/MLWMlNBUNliy/dltnQQj9AT+AOKVr5d07ElqsNDYjtAeKg6QVrqORNVX0q22kBVBGZVLKGRogH6ZKIYCFW0cfey+G5g2gpxQ+s6xFuloNxNjihfISNvLQSxr3SNR890QBjXtjtOg0wIUE9qhufJhy8ngL0o13XzORl39/tHTqDqPz+QcHzhCJdAhC57IShbzl51qvCaG2zVrufXYSd/ylWj9QqDIrUuOpWPgMZbW6gYy8HVuWWKyEOg4U9CDqYfbuawhub35F0b/clmFU9g7Nf9iiExW7DmJk9hCT80OzAbfYu2iHK03Y7ZZeyuPceseZqaXvTdL6ug6UfKhD44sC8vFb1oPfjqYVHZhpE0vE+9HNfqkyyQTeLteN4VUBi58oEk7JGUX3RcynwoKMJZmSm9ygdr5svqnUGVvQuphKSlcj1KeRiH5juqYlW1o7ppB+a2EqIG57pIw9tEmbMdVDZQYEyZOLD/Hem4z7Csv+zk8EuLV3nfbVezH2DClOaMKkvTJCcc5HkvUTNlGJ8665iIuvefpB4mNhM12PQQbnjDW5uY823P4m1uhEq1p+pAhrDRARW3m1yR8pNnq2n3M1fROX8Z1QSehvsEtDt/M1QR0zA/e4dbn00xfIfvhEVL/50DdrHQsRbFbGaezwIs1HgqKLnLy40wXKJFWcIGNCXSvNNt3N1M5+7yU/D59CNuAp4YxBQ8dtLVJRddURRcpVNiLv7tprakL9Unkwq/QESnbigd8cneZvShC8vdEoaIVUFjs1dHFIpJE7mRBmtmpMasaau1DVMCXpPaLSNGcT6OtkwrJTrB3KEQdoLMrJ36I4fzUI/BOOy0NHS+DuAkYPud0u0SVyBhpbPbZW9oay/H40sfV7YzZ7sa+kJsmMSD5dTpCce9RJCWDP0izDlGMnGjP2G4S/jUFCioOfFjWmnJmTI6rNr/jl18cUTgcM0apCSji9Us9Tc37xt5vtkT2uUB8PAspgNy1l8bBjuLxQsCrg/kvZPbKfawxsmI8JyEmW2PgW6pffPy1zTfM/BSWLgqus6e/dIKtukir17GGotIvhkII+rrLFdOSbx8OQf6qbAjEo9WkO0E3QNNmXCAqGRa5svV3WKl8KVCKYwEa3W/J1SQcTUkh1tfzKE4tBmYIf1EfN7fs4A8u+kOmbdwu+348+VoI/H77jjXabsP6tsX1KFeTqf1Z9wNTfQw3ArD3kYv1zpUrkpZh0AS/t6YObL0C1+QNqO1KSpLlrQPZ8OPcugJvRJ0dHGKw+XQZbmcgBIg6SE7f/DRPA/Ob9LvWSTo+tvlUJ+cvk+E5hFWcxzz3oELL2ZaJMykoHEIU2knouTAqXC2ya33H4KlaLeHSY7RI3w4LPXj4/2U39sXm/kAcoemrJeIwFHd0YKuwFaeKik5yCoWZiNvC5hx31uaJMTh60zLnDZ0CWI4Jro4O6S60Ti9fStApLSPIQaZYsQwiblIVpMEDx8l/vpTOXsdIuuVdM0pnXzqih+BuC9OXWlOWgW03VgGF1pUfnM8QKomc2P4nl2/3aghm9GE5J0s4uBcvQkNAbctKZRu9fj+eI3ygl2RuT+5Sv+J4btFZscAL5XqU9Hcm8FZ95A1IFOKQ71XnV2Ond3AdlDW7cH5k4xoclQsg9DMvyBKDgdM8M1gS2DrDFYiXgAysM/oUrnxD7zlx6tNv6tsUrbkuo2qmIfquYf+HLRpgg3RrWU3539twI6mYQsnbWwE+T85EEJeq9igefdTxl4GtxVeUbolDu6LlbDEWY46aAZIqxLNTyPU+yiRPDvgyNMTwRVZndndilkz/baY7vVWWVTuM8egyImHqAOg/xjVW4Mv2I6r8kKaDOFZCKgMWrtkBP53agUrUWeHxRTfFXtQ/honuBcCwnKnICnuZX1Wz69E+JU4CRg8lFtQwAl6KxQ8619c2G4QyDjL//nASsWYf/k3jhXC8Pq4BGaOUUeVWklpbVRP9KsBEr0G1FC7ZZTTQcIv/i2mkqWgaQyj/M9sLSbjjHPbBmZIlzjs/eKy62cuBZxLGsobMRkxIJXRhXXS4KNEB4rqhdO5qBa1eEhNm7AHSua7UmYkgqXxL72fDNtdU6F/HlRpMaFxXtbJ2frKKjOa9UucdlM7c8xptxDJh2vDrE1tRTo/iEQOKoV1wYMeWIVfD2xNWIHSuyzVb+cRrPqzKiEmxPokbzKREn2Oogx2sL6qdI7mGeV2LOFnDe/dRtccE2LX/as8cUTCKC5ECXy9injTMOfMh4vUwv31SmGNYuCkMdT6VlQSDntCnM7r1LKfyOCGcNm+05qJed7SeK53UBUZyPRHN6lNrHs3rIm9DADcwBq8A8O2NlpjT79GO05Dw7k5UR0iSBRBsFIFooxgqLQuT5DgGCthh8njS2GsWr0sM+qi8++3KX1j+HrKLbOT3Avn91OFun9brGa5ZreCockFxmzw6+i1TcXLI6Y580uv36DI8skMJlP5NlE+FVr30U6iR/eqvn45y/+bDU6z7K5esXYdOaDj3vxJi0bHhghCMv4RjF650OaxnheE/zCx930jZ5n8FivGPpapvtVtNfXW7EvmRdcS/XnuYaQkcHG1J24Mgz5vkqOkEy1nk0c1azVmRA7BNpLEyvFCkYsEEBhjjVFCLn0Tk8rndOzrZyC+SQDeDNBVkmqdoLXdYw7b0pMnfKDIOxKXdok/zeGmben6wc1FXvIi43WhKj1PbqOjl78sm54AlzkQ5qmvo8Fh/GdReRZfJZX/S8CUtAKvOfHVgIVxmjxhoSOxZUdZhpQSzB9VhPS8svJKej5LVPUEWHSNtmvkdjMcRGwcMZ5SLqrHzSonKrM0Rt4uHJX+NeyxfmqR4SzlcXnWuDqqxezrY9ZBIIv4Xd5TnUwiUUFFuK8UIpyBItB8Jz2UAUr/VXfa3IUn98Lx0TocSNP9//KkGIbaHGF2I+eabWcoeDIPEC8hmpeR0eDaO2og4dNHcWt9bEMzlA23jgCQsNh7XUDFlvYmDrh8kYD8RT8QFOYEt7EWRjxCsO/+QE5aiXsaHKcxHiK1Tw8OJq5I0Xd6Sx26oqgO+MvAsbybNS4ss5N883OKo4VylU3NDud+h3VHqhMRCJ8sAe2qEQNjoxffPXX5VY67kt6Dkfygqr766Hs/hUp8wPlt1CSZoD8+oCva5U+i9HmkMMQi5DuTd4/52K5DGU76bfidlvM9VRTOrtCMGCKeoOx2nZffxp+/ptj3LPDtLXvpjcoDRzYqrZ7vEvze2hvpfgbB0b1loc1cOJYkJMrhaC+4mO/UXiXS7rZyjC3YRa0XtsXBNHFGZMgBRtTk5nlS8kCZfmuPClIF/rmfXQRO8X7gC+EHnRmBlXlP8PWxP0N2o9hCj1akCzSF4mcpFgZ+DOi0LRIOdTshelY22Diqo0g3AJ3od19DJk2uSH/c2jd1ujEZAOWry8mGmY5jazvhiorz1e1Cxu6grMgwmbdd0JqBI4ytOrZfpPYRVeeDem+B4YDDd+cK/Wq2SNjbIUjVJ60DD95JvfaiObYbC6u7FiXyVADWRsDf0aE47GQDbtjhHOTpJ/eljBk044c0mwpzfCeYhbA90sb9pxpl0DoiLYPCj/n1BY3TRSWA1YGvtYmfLMgPZyFAeiiaWC5OjBlgoDkNdskulz1gQaL+YsUuQoQRBbcKa2MS5qibxVs5MipDomtOVapda4T9Vi+wBylG+UA1+Alwl6DhyLlh8HvT7oZv+2fOSMZCtP8oxUudhXhelROfQRVqYwIw8GwjJYcY18oweFEZ6iq7Pm0qoutU7CE00jF3jtgBAx+KsUa/Dx7RoKAGt6ru7ZMy1rErIYIl7/5HMogiT3EByfIRFQaivWoCz4B/sbyJQeg7w0yragEg4ZMFPlJCA8IC4hinpgRbF+lEpfky+eqaym7uviIYP/JmSHqnHgp27NktLnemc6RmzDgEn//LjnVplNWDpUbhS95OUrhf6xucPNe1uO6x7vrqqnBWvxYO2ELF/81gwtsNjxxi59vgE3vAoRcTeKbnvgx9WsIcU3DQnzsDV4DSsDLXSlGjpy5U1sbA0KbfgkpC+pr2OA7OT5RGcSdA0Qmqxe+6IVWQCPydw1NCHxbj6HGYzXyBMi5JNmagIlbXzI8wARaQkUxlsYwmx+fNEDCbRyqAtIBWf4qWI+pswG7QSCAhMlfsbUOdxVrKZPV/FQL1dS8/XNrBK1b3xF5qt6j6+4y6WEiuBttHKKON9Je6IoaQbN7U5en9t9NvdRNiNr8ZZ6/MH1eICZiD5xSavrZ3fqlRsHRCXsVCvJLZFWlGCRWLAWHVNv3S7qgOL4BIQ5w74HLlD4MZWYSksoWII4zUqbU0TKxoCc49dONfONvuNckBOquKQ8tUHEc6ylcnzZy+9NkPIXVjg8KmHH0XNUptwAjilOaQZBrYwwGaJObUpnaS6yIZzSh23gW9XWITFLMO2PVs6fgSC+NzIQkr9GhEyexqGTkhdEtPdqrC6Xu87U36XJ6z92A0fZuQ/6aSMk3zkRCV0UA4kKCqumc5eerHVeNw2GaE1qBqqg1iALvRpsbGcKGA7I4aaotsSlqngLGqE7SZxh/Ww6DRFYCsTUms9hKNOxN80QCvk8feS/5fniPNMMVqZO2jr2wiR1Hxo21xJo3KLdM0h7XIngnEt4g+mnP4x/7Bbs7MhcAk7l1UheFcJkwSOleC6LdH506wjFru90+aMP7Kd47pELZTxhYyp6wvVDL6bP1efYZcjQjE4zn0HfK4FrKkwujGItbOTpCerqHYZNG8WgwcodIpZyFXsz+5pbGSgHHBd5hPh/kd7luSSEckgTUx16PpoGMsg/BuZ+c3AcuUFiH/f/V8ikFsGClXI5mp8QQovzxr/lMzEz4BG84C/TRC9GkjhkStETSsOrSaOlcf7wB2UnBHYhdAXQValFEtrq7/vDZJTamKeSmsOQS17S1Hcx0QqLBzH2borCwepo3AuwKtygFCkTkmHWY8QY2KJZReuNC2+D9kZLQi00T1okEpt/Alu42KSEt0YYyrpE9c6HNTWSd7RVSD7IhNl9HcCEzk/qhQl+EKSRHDCD4/OBZzF20R+NzrWRHvHl4+ZvmPtEqAMN4MpYSeNu9Z9K54nMGKsi8PqrLSqCA4Jv3WNayuWziPi7DaQUiSv8FdBNiPKECwLdXq57/iT6ubjTXh1jIZUCG2UcryjGc5uy5pFeP2LaAWSdI6ht9drJQNNiEd14kbQsHNxEA92xi04Zc/oD2E/s6tgbFHDHUo82YQn4N0HzSAzaYkqd9V3HksX6ErS9Tszf2YiGZ4vwG5uhb7VpP4Qd3n2y6FFeMZfUTt45pciX246Gsz/9mc1ezfVgKC7QjfYqc7ByGP4nMi2MCe6Ua2iZXntSFGbu3Yh2Mo508wnXCwkuVJxMAsZWc0NrBvbGVQYIgCV6RLamJu2QfpIDVlVxZkq/+GHi5It+/zxlwa1hrendfaEY9jpxHuqgxFZAD3CHCVsZnUeSKtW/d5ONTzQfzDUVulRIzSed1v1CBtw87cmqqfLfS3usEbZY9fIkKz7//MybQxtY26sjeVvsMLMikUE4PCe5UzkSGKCTzsVBygiIWb3YKKxV2QeOkCqCGI/V2yI2Bk1k68GFm4dB1rl2qpEkJUsmsnXVL/aBM4zEduQho1U7rUWWCSFDd14/ppHtu9d2HLO/QOTOfi3exUUJ+EfVAi98iCZzTGJNMxGhkak8INM/gdJZKOl4UEZlaETs+7kvp7n1AZ3exNOmAzvlEhpjfM0UwxLYb68QBabXj9jJjNGfiETdC1+aDLol3ZzmWtg9uwTXYEFAkUPGy3DG1Icf3p3cDJqCrBr67dalN6mHIQvX1ngrbTROVEwwpC7ZDDukIye3NOg6GIR9Bdsc+yFpz6dXfff3CovER1dZMwPmTav7T1AayC652B1DRiVjYnDJ7G1/JBl563GqW+tlgG1QQo11dNXBqGH7pFYOxt53ab6KM2HGkWjsPtlk7bLtgCUMJtuWQmMcDT6d1dv9n/oXNkr9QcczdIF+H4vJTX0av4+bDK+0B5EI3VHXQyzD10aclX+23Yi3js4/pzeovhZaGjC9SQIDkVTg1cXkz8Ac2jf/66t2QUU+G8TKNX7I6p3YCQo+PZcgzP9gw8qofcj11iOHK/8nYSZRvBf0FkbMkTXp8z066kiP3Kgj/ndCKrWJ6GhXVWH9kxMY9ye7mx0Sfv0bxzxesniK9/zBZOzIt5q8V1lqmqrVydY5yJe9xet8KmqiLhGBG7oRayhp2MhLg2RVtmDDO3q6OauExfWulKAyL44RA+FIybcwYGHcJLeC7unhz5Ij9hmkmV+AvGFigLlZ9eyHH8QFWTrw7hMeyIhuSfBIFGmIj2CyzachTuFBak/lhKjZZrgfBxjChGoeCh+LyXLOg5NHBwv65ZOC7X2h5ru3IOTv3At6Vp92dxi0FXGSq/krzlwHAMUmSKUtbPuMzIPVunYPS11nnKOz/k6eV7hFaNGDVIz1Yrbf4mLaQDWfJ4qU6igc53veo8gazAtU89B3IdowN5U+EZSxBBV1X6iXACeCWaU7OrJ4svifUMvHYZxxPXoSCrt71QnMJLcgGT3+y7fwc8ZEQ/LjjN02WuVEmP4X9Kg/YKdb4Fo6gw9aGpJlk+O+Ct8Xx+7ssr/8O/sTGfSL755zfCDeey4NuEiggaMkw/qDwX82Qq3d3dEDVlTQFthAzQNCl2MyD62jaU37WosSQ5KLbsXsAEb7X/3uy9ovg1mkVNAaImMArg6CCHUCvPH3GdtR28ZYe8Xnbk7mBs9+WoBPQKc1hO5hJI/gtl9NzE9wlTE7EAoJkEP8+50DH/Q4SUgdtIxa2H1OttadhS1jaBLHCJRK5mTQOY9lSZgFAYeScjltYnfy+o0wIjnnV/ddjGVE3yVlTnn7TAPS2sO4OgwqL7BZmrqsexx5CspUKI7D2av3yX7opdqWKhxKGZyAR2wbnMWO5OuOvYmmha/oF0ijWLOJ05kdxd24uJaJVzzuzRc16JXBDEbgnHXzCa5SSgOFMuWnDyU7KREjm3RjVv1EhEISfukhgy+YR1/iPJIFh7Rci7v0Hh3BtHgDCxFH2y3Lyd8ztt3jybNe+8ESsLawArIWTcyN45xbMvkV0jZyjSYfJVPcpqxOOUqsPtut7x++MJJRSsaHi3l7j0D8fCsd+x0q2wdNpD+MVXUa4KRsinYzoL23SNvWv9faMQEKvNY8uSwqSVD7TueLpn7DwxSQInqRuNSeK2vNh6XW/767tSWgPKQ2xPHoujKXvVcFR3iQczv0NUDU53jWwLCT4P3j3Lf/vdQK4urx6+FfxU2fAGxkN+v32jxwZYUmovY+Z7bK+x627xBAUOEbHf9MlnCAjsfr5A+7a70Zetjl02Tm+/RAJPJQsCjdZcOPgnIDzauk3XKxtPR/bSbLTmpttTspQKxC7alo/h7RxxAtYN9upS/DyC3lpfxd3256hR0LXiXAzHML3c3mSVqtOI4hfHCiACtxGbNkHSEyNlRfn3ItNBYmdF6SSrsECQNUiEhCmzYqqTNDFdtqTEuuaeZeaM29X1Odt7nQvJEizuRdqVoYAdkcVJdazjB/WHDoy8mJTg7F9CaSU5+tGplRRox4sU6Df1OLGnbmxPqsmNN3JQ0WrQC4Fp2loXkTq7Nq6CQKWNHx9GmzzATFWFXc10Qn1RkExLHtpYNOvTEtRsA5Kv6iLKq4oKlFZetI+a0qiZCqvYi1sfh3L49bJc3r8bOYdLgxFCGxC0b+9YZSMR+DeqYrIG8lv8JQnPuahmA/duki8fpicZrAh/8k9bFKnxFL80i9w/xRWX+cD7vDZTxalm9MISZnCdpFfftXE0rF0HHe/j6qotF54p0piY8fWh1dTzW4RX7luuzvfXpunLSShpZJp2Ku6vqfJmqK1GaaQ9gWWtO8f/JOIAMFxioy1GEsLgbt7UKMc2ieEpycdPra6yBDaHWTNBJld9uSmV69wH9bsv8H/uyhmsCxYQ/HInmLAvq9Wr0CtPTIBNIAx+TIxyasH2l7vW1aRq2GLtpGvuDV5rmVmlb0lMqDf5GadU2wfMTEaeMjLhNkLYOI2Yiqfr/KYeZSoBwwqM9f2IH9f6MmSs9sZhh0Rh7od/LIEcFpJiFyxrUkGzeLEZ65CM9sbBn+dVGqfpcSrXBLfD7gi75ZPgZFJuU5R4/iQhr1fEiDuM7HWi0rsKVU7Kh27u9IoT6epX9FhJe3NzzKlSSwrx4m6zhuJMEQV2Sz9IwvtGBiBNkIQNo5ikTfxa9tBNs16V9fqIRKocIND/gKxPmeiFPA1aCWpkStr8LDi81Q493Sl+sDFZ11QclU5uwKJs/6EOJrPmrtUzMR5ucEQPlSIsoqLLbzpLgC8YAkxW04ye8qkg6Q4pBLiqZyCex+rdXj06pm1SA+la+qawqLl/ibn1dkmeuTbUleMojh8k2CxUeN42VQDVyi38NMw5BgTu7HnQfHxx4MItciXzWgtP83UzJh5X38BTIMQaH74yMQwGMGRy9HkWG3NHDa3Y+WUZ7PZxGG4oZKzIwjB1zdnQvkMQcVLLNgDZnD3m1FirqWOEHgzSI60lrtY0eWJbrolZj1ggx08u6jW1dCc4S0udGLB+uI/mNqeAFVV6TKsWpS0MZmN4hGVb2/KW1wiOqEFWbgvvI0oGQpuKWVx7A6IDffbV4yuGqNRZuyiyczVB16x7t5bsn5+XWAYJHNA2IafCStBVlQW7uLROHQAr/g0hz+XXK+8nOikbJZamX0RHors97/cQWof9/Po4pfC3UEu4bdCYWFLpeZjDQCqtZnk3bC1IJD9UevO0vJbVEN5DI0SOtYoa7mvl5kdywuN06rq+E5cd28oXWA6Xv0ABfuDIsbaLeFN3O/0N6v3GNISG+S1Yua0k8sXQqMaZO/UdHWTyaAvf4nnEWEGTnVpJT4GCJIj0MySYG4jMyIQ4ogWBrXSDisFDYtuspjfYfwRDeluZ+rj8tDlttgyTZNgSi3bDaFZ9VB7AFKubC0YBJjmQ6Rij3c37nZG5lKMhsxK7KiqeELT3UoyIkYQqDaF3KAALvc+w9NO6G51Qjej4vU1hYbkLw9k5//2zCCI4UsMTqj0YAvsb2UYj3M9fhNi2BzACTqi5qbqLMvFP13iDcoKgCc6JYkNLdTH7TS0SLxhGSJO2ZC6aEq5v7bPo4Pjw7nl9/2hI5lp0ZtYfZlRq+HNl6jzEOSsJkA+UiYmKCCTmX4oxV4XTKaOLo7ZjcYmqJCK/tivThOgT8QeB+7lKfL/zU1c/qxRpfIwippOJ0p0F8jW3I8wxsRw4qMccl46QFMY3JtWMiPuyPzveqhMOeFM3fieLM7Kh6a6QsZFVAHvzlnb5loqTyTgTeRgVJOTj4LNkIFCnM3GTANOT7ofuFPmvuYC0Ht30vyxTlSDQSpTuSH2vjDjFlw3dU9IJoTuY4AgPd3Sfzi1fL8NUwA3QmymoVTPQMHbNwBt1qu5JkOFUrIPAnWEjhMjV4qLEfeMPbCsO5CLsqoe9Le0sdtqI0ru63LuNsK3cUxQ9qBOlhb5V4Nm2gooxdNG6vmZiCvFztOSVPI8OWfGJnrcsv2CMh2l6175Z0QI2c5bShaEiqh6dUFHw7fB5FeawZWW1ghAIBvpbMh7kxY6PzvXL7dJ+L77SdFM/7AzjjhfpmnHVyfRpnt3EAN5gbTaXR0s7KX+A1AcPKrmbeqf+2Nx1EczBX0J+kEwakMGq3lEgcrv7AU0dWyicCSt9R9MZuCkd38W35W6cvumatV7It9f9iPMsoAtdRgpyQ/0jY47FdxfV7ryK87yXBXFk/n7W/vaWKgPIeSUtUdCpCeJOA5K7XwTJN0jHjQPQNkORftOPqEgH3EGwxcBDlSzTsHDTAJnS8JHlAI5WtpbXkBS+TyszHgefPAZqRezli3/adHbxKvMD8Vgi6JMEhDt1uXYwJVY1kgnjSDnlfcyg1Qt1H7vjvVXJVSngu+wsPJM8+Sim+k60HTL4aKPOQA88mzMJDQDIQzzCagSzVXTJkrejVppcDLqgYXrkX/TICwF0kv+rWv4vlQZd9AE0lzqcAqb2f44AZPcoIjH+a8j3aVQC+V5cizE9vVXUPryrZXkVg+N7UcoRnOV4Y044zJ3xAWg2zn1oYDRvYEmGSVWO/BPtL1JCpGdZe1Q2BVNnhNsKnsBl+gzSjQV9R5iwDnvCoVo7Ra29Mt3il4MhRuuckwMm1ThBo/R5fCTwGjFx/M9Qle9ic+sdAx4FFb6VI+htAzAmdbsR+o7H5oqrhJ1TAM9Et5uVdTLgANmWXRsaFdvXG9QVcYvFXEk1m2A2qwlWLsXgCuJWqGT51yZymXyPG1xymPDMt7Fx7/uas6DGCmTk+T7O2zaqulHg2hCvSQpSOPSRoejRVuYYhiIUphdwCaoxh96D6f53RED9Sv0F2Kgva9TXJiICyjVp8EgKxT8199OdyVNXavD5AdDm1xH8lWdjr8ApzLc4rGoAHkE7ZmFrz14D0+6X/QpT16LDa55MR4xR4Ncr+SlpyOgDF1eUAMPugwjgyeofk7otHlIXmQ+hvDtI5R7ufAa+hO6NMRWosh0LMcPpt31qu49rsK5EhV/ADS/SailOV9p4aACUafLmEfLdIwGyFWqg0peO2mwSFXWd79OBv6F+QmsfYltl+DNzn1MHwFzJFX5+KbicYZjl6HYp/bqRxWLoEsCrEdrThg7deLVk46JGJtmXRdrBYisGPrPYPvu3/55ieNWWov0he4UOwoCK0LXNMbzSPexvjITVB8n9sllzWRaNifXjTg9p34rS6k5y0Ka2ulsYNCoPZkeyDSPUq8MLd/3N0oiNMD4thsGwQmdiIwbWO/jFKQrMTfSvsWSTOkm322QPzq2OT9++3Ulir0/GKik2uIwanDfS747omqqXO971LatAixBD+RFfNnTj0IQ3NQ38/cKp6IjMdLT3tXKoYQbFX2NZtySN9J1Ssu7Xan0v6hfJ0npzjKBtXfS4VOvXXxYl5TWOxEylguWYhy0nHvco9gwO7Vd7LmE9AtzvfNntCHCYz3RR/Lq9gbxRmkK5Tj+HxhfLSYcKSUIy3wiJG+bv/Q+UveY1qu5n3pytMAKlhG2+g4MzN+ck/soguvbHN+cQH4T+YErTZ7CvN4SG1840fdnoBkL8FWnmB52BWSoR17o4Lukvl+9mpMpqEErSbpGadN1Ywsq4ywHenWLNYiZpydsbsmV/mkPw2vXIrJkkmfVkXUGah2ZU/G5f9Zu9Vw8c+QHAsOE+wxcr6khBgGf19q8Ip8tllbZJWasLV2LcQaFNKIYMFwRHNLOGoay9vb/hTJ9+JWXaEjOLT5+QUEBsFsppxpGI4Ch2h70qvTdGN/HbjjDP7IMdULk5vuIiWubSVq5U81VqiTmY2zCeVH/2rG/gZ6/VJtBf5EIgwKEW3n6fGoRhBre+Z+pSk/0TYvmoJyZ6J9WV6dD6jquKe+hxJqcPo2KRFr881SD7ygdcCgC0qvFTqF/6pS/OSZz1haNYZpIJAyLZORj9PydVvPumNkoUK8j4XWGvrJ+eXUCh/KBMZXxrvOVKVH32a+qDTQ086K8YXqsnQPlzg5wWuiM33pGFgLXOC0VtqjfQeV/sGAqd53xLOj6z3+0xz3EoeVPQu0TNksN2GcphAtLEqYx+V2izksmrutKNV18OJxO6HIkY29NiMZkCeXxI0XYfnV1aF+k2zJVE2+sIEfS0F76/IBw8G9snVtyX+mzUvF0gJx53d9rUP5oDQTFfouObSUBdnLo7ohPVgHyQIgcyHLtn0ZIxirQMAtEpBLALb6SA343G9JiYIGPFhnRZ3s5di0k7NWBj23rUjZB0eDTQJySc4P/KphteG66r6JuUUZm9nCM4Z5RmMXhArUsorE+V0kned1Ce6mqhQfYUqnGqx/jX+fKsuz7p6q87/QjOlnnyrslHKSwFNiE0Vr3hVQXl1FDu6tg+aRGK4XO727tKFSto+8/6NFcyWTK3gHHxgWjZsC9cQQe1o0qf3LClw6vezrk/bDsDgWgc+8WRJTroAj3AkupwIyn7//ge96Jdt5TGqExOl3nzzyYURTfqqERFDDALkptPFxDtepSq9nyupBVfcIDK2ltSRn9czpFfzratl9Vc3YU5s6/l7CE4avZJiot5kDh3DvbWAEPC8qHId81a1rpZOdFjHb5qf9Vq9Av4eo7unsiGtyGlVw+/mtqLLtI+G9BpvOdcXlBPCa9xatGsVBUa9b5SZLhwU+2V+sXU74sB4vOPGidqIjqQVObD1iySKO+QJ6g+hxRthmGCSm9hcXQLWAcR6U88usbb87gxjQtTR666KSbhk6rE8gQ+rUK5sQk3qUhKrt45KKGRGM2Z0jr0eEYZTUHE49VIagClfMopLQ5gO2WE0Ico43l+iiTb2UEuCGD7N4nqI/1/4Px7FKphNpRMbW6HuerpYqzPkt7Ac/2V8jJ9vyQBG4eMJRw2VN/pipO8Q6eh1+9uaOhH4ou3ZJ9zRhzpoGGMVltJBzKTRQPXnL3HJy/3cTc19VHZ3Jk7xwxopSkQtllKo0FqY4OUO2vR+7yOBnE0HCLA8hmWcK4JiPE6OwTMuyLHW6GxnCSIM30ps9H7+t+PFlxZDpXPJAVOC9ipMOVB6XAJGowzYRZFne7Zz8B8QeRvQ9UzyCIsjiJtRkJKdjZvuB2ZOQg7DIiACsRKXnOKlawpbT9F6UELu2mg3smKAeUMy1WxP0g+9AE0Y1oHtK2cTlVa+kbuVIGzczSRJiYe/Jwi9CUJicbSlNGSUFHcMGrPKn6/zOT6eUH2pShvY/GmjVFZn92RebY+2PxmMFybXSf+q5thC/y3/p7w9+vbJI5EOjSVxTNv1oAGLkgvJUw6ZnNXS2biffGhjM78VNb6MrhQUE2PX1lKL8HcimRE2GYuB6cfNDD2wd6fu+WBwb3g2Hh8x4qLC0L7E2RQ6z7F6kWN8K1+XUXtMTGHFXdnSOGO0p0J3IevHIi7jV8KHc5CSsqXpkKl5I8tNfQuDymHmkQ/WN/QXzKQEGnkaxDjIN+ume8aYfubvPEEfJp4fGMs6JMaW1WvnE679ajCRLws8AEkN7ASPb2Yr7o+gdgZnokw/a6IQurRQCzVVr5Q9XkCig8z4CHWqM7c4AwfVEhxnj603UMD1+zauZYmZE8eRYHnmXIywHfSbMBXblY3SH4Zf0NW4/m9rb6WsAEXP37TFoli8cm2Vqr/2J/Ud1naY4l8wuNUEXVZ4mGjnbGdvfbntirO7/3nkTUNC5acBTV0HCLRBc75lTC+xyudmEmJtH0my66mkYZcQ9zW+sURKqS7SvFLcYs7lIUu3++Fg62MFUyKCpkL+W+VPXTKQQGry0REeF3iKzbhh/cgrLgm/xc39L6RUd6T/jJDfyi4/fYXzLoAxPizw5pJ7oN1YOjwxeNAXnp23/0HaW//4wm60wHqMUcrwoaS+NT4ELB9DEaCr7xR/FAjFVNpflsrRQdNx2JqOL3/AoR/ydRsbJiTmAr/bcdczHehutL762mrvXZemk91Qv4rNMEXAQMN6dnbCj0H1LsQz+aJzE8GQwFT04B/KWO1KqN1Q00pyGcsjFskISOYg93n0etBhsS1nWVUk0qSoyXM3gUuOdpnbQyVaCbYSEhAnj8+OO9//YE1M54ryKjHarqx39r1j4tZNR5whO8kN/+L1pJh7plCFc6amo3ObNutyUvoCpLr87SwiIly3HPQ4gqfmNIWUx+Qo8AsjeNHZs/tNdb8T/s/pLKu7oVOtY4dQfFpynChFC4wqkmzAFp7Khu5UbAgbbC4Pl/pGwxt1yK5VamywQeZ0zxBIPenjB2uR3Hy2MRKEGaOif6w7R6iwx3v+LatE4IAe+SKddCSuM6b7gy5g50Bu8WuGBHBzCCXiYAGI6aM2Y3VC+8bqdDSwzXKK3B3ouedv1xn20p6FUA3Ran67L2AR/S/rzd3Z6QRJNj+Oh7cE4GjxavGzyZ0s3L67Lovj9mNKqgrx0g8wc2OrwNGlxPOqpX2cP2nOrGq7ZBIr/hMAlIqk+uPP4St5J5Lkiu4b7jszwh4IXVezFMykvTLqk+emMIhhN7GMPCKoIn6x1+bJXLugoWYrC6OKka69kSU5/pqlLeKiFaCxKEqVHnJ2l+o7Elu1nEhUnUGm8Nltmc5XI/mMFdxTT5kmBpEAV0DIW9xWE7xlexLjeN9dlBO6V5nYjrdA8aaEoR65CsAbmDPi2ZOu7CuUK55xSXbbdWq2TCkA4hUEw7VBx3taMiDwhmeS0/p2aEEI6PWx+PLf3CWWYj5irW3Zugv9h4/YVBriuREKFAJzZPw8FvYdXqImp/eDAxtHIwoltyErdQnWXvSC93n1C4JliR0MxqarnsUAFk/hbpaJcAjgQdOL0PWJnO7gNq7OAsKLNwNBwoRM1rd+vVcScxli5doHaZuptvwy8dJ0UQ7D/1YIwOW5wQW6CC6emfcR54S4g9B1Y4EHO1Qacl/4q3Xr08H+hV111rX6vs8F96j8MkZzO11/GLWYd4olz36aZo7emJd0Rc8/Olu20speXV0CztNw5hK+GjGIpL8CmpfRlcI0d3bZf8BC9W/UUfvFp3mzZRq1HoOLv+d3qAo/nqRPVjDQqspvcSZevFoNosFM4fCZmDdZuLUE6M+8r77FZFQVPqxoFI2J0SkXQfsazWUKDYdLRWsY5QgEpLWp4SOzXK3j7tWyrqdgn2vsu4HqjgalnS7VbYexLkCCO3Z11dVgMjDNwVoo9CAfrU04lh05oPSOwkD4tD8UuhkfJT6Ya6+Q61lv9UHofbmoffIRLu4lQWDlDOCMwV7HKFz6HBkPrNhY7yGXesS/iao+xKxSgHrRJpr8EPWzbrBmNDFsdg//GeXCDz/Nb0wQB9s6aWzg3TG0qmKFHqfXxGP19kA8iIMNa7WNWdB7bvK/4veE6it7e8p8GP723o9O21OYus4SEPAC+9ckXpvcG6hEuDRDV8aBBRNCbp8TKWt/hpuMFzrh1msx6ONSjpdMAGdCbXt9NevtgprgM65JggAv21MEKMTBBlpnjD9wcJF3CqF0WpZrARSTQ9e9w602GsRg4kvUBUDe4Gg33GifUN7f9g1lIilQmQOmfu5UiP9VqX+Mwiy8RZD8TdezU72rT6+J9BdwB6mASL4a7cieEfHJ4LJQFfdMKM/Ym3ZpTLTIw5qyHmAjg34QKBf/U7LaKQUGh18h2C3rmTQrrIvqGuwCrcNVpjN+GpVKPfLFxUxUlc6cPSIU8IABnfWBmFf8JkbhZ72Nf5rOCj3CR7MI9Wqn9kwuxxuSW2Dhayk8OP1WzsGgiwnDUO14ZlphAGvXukX6II9KuvokqM4O83O8no5VdXCyxJ2E/KUPcSOr1n0yO7YeLDFahNyO2vPn5+K7VGrx8brLUQva//WNAYa6x2K0R3ATQZl4lO/BahO49R4CpAHxq7gzxeEL6BKhvwJAlmr0/I2dy8Ip8drb1EPxZJAhrp9dxpjQQ47MW+cV70gToodhz0UIoiMbs7e7fMFebcJNwYLcML0ZTeL8bgxW+FNaOZIwKz/Wx30m3mPtFvrd0cpXYEPHHxy5/iyt7k5f3seAPeT7wYDWMJ9RpSTWzvaY4f7I3IMt5zxXbAs/ip6gIkXG9JzYVvI0zZxAT3ph2xwKVg4fT8e5PkAiBpmoDhzRarCiiZLySlzl2K1ha/r0rgj1V2PyC7VBlIZuE1LdqFM/I4DzD5npYuHldwQ/7QJu8yG/Y/Rg1CBou5raovyHONeLRRkEEt2pgkhcg7FtV8f2VS+6drEQBTGD9JQnDw+FucfmSCmr8hjS7BRoB7hd+kA1/X8hjUTvZ7lzAa2ts5kx7ow3FLKVTVZXb5frDRdK4pTUtg3BGEQwQmae4lVbG5FaWepyjf5ZxuFTHawo7+XPW79ulCK2v0jbSMJdlZxliI4hDrKiDmtSTFHz8UL9hZFTGo3JYx/e6Jv7H8Dgb1lKbIALGCivwOcCcwZWAsJM5gKwoELahz7J2Z94iKOlXR0JyWqzwYn+ABw0FIjsiY1Fk46uvpZJrFik+19QPH0uq0P9INGL5lczgsNBC+6RPhhj5mb7HXbpo/A12cJ3vhCcc7CTpiKpDoBkGQCfsDVZPmin2GqvGCJpiqHReqKLrf1W27/ieGUwgcfDdcStzQyKFYjvSFDzfLD2UUssMzDtKj+2QpqHCU/1n6XQQ8zreB4OvN/SHoPs7yLTVd5Xy4G0L1BPtZ0/fphZ8t+AMjyxfr7AMehoEaxaWTRNwjP60fOrYh8S8/e/w/hf2mVz7zjoiJkJoADgrZEHBSpkKkmXhPIJnDz1bK1bWz2ALXH8mB6DKhBWMyR20/VnxFmImxvn8zg2lUhrEtgVY+kHhhOk3QJuUBQt5DrlZQjLbzdL/3+7LqsMHsAt0JsWjFDnM5KyTgO2ykfckVTZWa+6RhcE58xMT0HTOgIbNZqFWOt3JSLVOo9dwmUUwKbZSQlWZ0WsRMfdYndBPuJWRoz0iRpJhZY4A0CGsc2oLg480zVsRNLyyv89QQV8PN/xwSoqRaQmLaBNtjiMKh0IXbq63NYxtCKjnux7ksxV6L0ZTYgOF/CQh5UNN62xg9sto+AdCld+CM3+/4jTlG01WD19Sr0Cgg07RQ/KWKF/90rpgJMnjPiXujCwD4f4ct5AJexWxw09Hjsvg9rmXvcXnT9wxodaH3YnYffIJH7bZylQVDvP3EDYV/EyxfI3eNTM3L4xzdWD3cI9T0sf/CDYgdeHrwtKLly23V1iwYi3igpDzfHe8VJcKRflPobZVupWolfWb4uWfCU3dw5ih4Ei5bMeWXbvHVuJnnpWZyPEigibro0lNhkGeTF42qL4c5+umqhRFq+w06w0p6o56dWCb82tmco0dJKGojLTKMF9k8h4CNz39YO47VwLUlroUEqQmlqNyGpaV23fJjRNKozrf+zOYK6komRSQsl2BcCCt4kfGXY9wFDiCBVgghHDInBpVBTQNTpTzEQlqweiJ4r6E8opa6S1Yy3rzUYo3qXAuR0r0u5TeTHO1djQ2xxnbQqVcvaYcCHazqjotBGAPLzxZmFvXjdDbt4ey3tcma679EB8vNIfI+TNSOowDKvyIUt+qLbqKcvvP2DbmOWJP6fzRBaaBSZ3sUYCLGLZjQvbE89PubxOeumnenRuZtdBjJJzsVQ+psb8oZAbw4Zu7GAmblwOIpfvQRj896ln67ED7S3uFRweALEdejo6jMkgcmndiJNg+B1jc4agf0XDV2wpZb2f88JbfUe7cccnJg78es0DUIqdF52A2XZhnZtR9SHYHUwS1yllQ0sDBu60VAd+B4TmZEEPSxIpboLcwIBBLU7whRu5scyv1MnSvwEkm/KYEn1XrrK9yKI3bCBPNJ4cud42pMTD2dXVqlDtRe0FdqxoXfIur0H058Ewn0cnIwg23IIs3dulBBzd4BlTAf0fumWMX+BBjKVtJmDXM4yongdE7ZGJLZP90TO8H2BJhnsg0O1fg8Dk4Gg5fMMymXHUjGnEbXaSI/hcu+TtXCJCHvA9LvIX+P1CQd+3aiBxhUsSHXoG1plEfr5c09D9BKhk9LqiXL+FpSf8DogVIYdetNuy7uKzovPn+iRc5yzNcOKhNwic3lBbUGc9PSQ2aW89KRd6ROei4fmNiblyRb7wV1SYoeKfyTD/mjTL+wK+BrgwT96zYtG+ZyBWJ4+yySTXTs+vL/sLJwS5qXAOQI6gGb/+j2NDYLq8Fmuwt2mUfokKqT3LAa62wiej6i1EVGK1R7EnbNAanVTdOX3TSjzshSR/E0oCHW1FY2164Tah0gyQqriJzU9YY7NtoiELcQJioI/5dkZ8t/asv/WJV7ieIHq/yHjUCVel4pMEl4rNIghFgdW6DjKzwgusHzTplk0J0HJzSAsO+fYZdbAswlorel/u/O5XrAfd0VQwVPFk7IlaEeg4JPNmm53Puz4Zdjxw26yX7oc1cgSZWCjPLxZrNRtFH2IXdxoCAyoPXgVowIdJ8S0BC/x5ky3crUaGsmxEkIv5vICifCAVTEglEf9XrGhM7HuGs/vgEtP1tvdDlIEQPdX0Rqw/9XdNqu/a65GCueScmsdupS/LM5+hJZeeqsbVX7vpQeIf3bkkdt1Cth5LrSucg4x3/CbK/8vwdcllArdhyF6INyrJcWtkoBv2JSUnGa4j2zPPfu0bc5SfdB/OrWqYNGV2IcNouTuxbDOAjCFim4wIHZN8BMp+TIQc/eWFpe0K96gZNuD3n04ZHjLC8KB0BU4LIfSxj+JqojMjpImk/VeHb1FspzAh/t1oHuMvRegUMNyDK8UcLothBgQR+qHF8YgpW2J/Zwl/mzbwBBzIdr2oRyWvba9A1RcLTYBpaCEehzrZYdXhSCcECs8f+yEpC6sYjIwLDoe5dRqMfjsij6jIePK91O9k7HeIFejUy9YgzYVwtiko4juVX+JqBzfnNnJUyYeJ6Q6Xp2WHNraya1DocZpVgAuXZ9tabP5zxsHCE3e4uiTzLkwZRIln2Na28QoGCEEvv6d2Q91FmPggCVb5SZrA5rY+zRG3kvT2GaZZHZ3WK77UK0T9m17fNjYyQS9MMZA96saIbkg1lISnxw0x24jhEU1JBQ+RD5o90kUXEgy3K+jgVX7cG2AymVM2QlaV84IvlJ5LS19AyaG9sBiz0GG8jUp/feQ+X+nXefRXA0i5JLIsJxn0aUO0VxGBPpW4Co3VVpdZ1sNA/cNhE4EHMOhEO/UeKefoVvbae2pE31Gc7SDvwM6scbr+w5IS3l8Q6pSzOsEMrgybu1hTvba8gNG7+uzGrdnzU65XbD9Cz6neYrweRkNF9/2vD5WylVFeMm5avK83hyulGova3vs4wiNA90HZl+Xg3ddqV7PQAXffRTzO6UHulQgkNOLwMoQFjhLTmQh0OyeWeb+YzIy+Qa1uomB5kzvl15FVQhjho8+nycRzpye49NqZuTja6KPHJyQDf+ybZ4tSmbCyHm2fubFdCfaaxs7l74D0Rh6BW22BDorK4rbtWDWI1KTY69zHp5HefskF5/KIWca/oQsyC0Q81XsQqK5ZpRhKlwsEafcgF5/d4JOCcEmTWKxjH+4zbBfh2NuK7wtaiDhg3L6FmHQzahEdYBDNYLXUbobOUqlTmWahgsWoesSoDD3iU2sHHuBFqTVl9KO7OisBlrA6SYApXXmMANDcK0l148pPXDOejmnr1/33DmggNgFBd4kkK8QldzsZ6Ll4X/zdl42KnqUVA4vKPm+LGDM5vjGiKM5e6JmbJKvIOjgcuqpyaAeY9gvLehwLexzH9q/pf+5YakJIF+MpLGbdJ0T3vRJMkQW+dprZfTVsmcxg2k7ULEenxUip2Sic2lazUDVxQ9LP5L+facJaz8LKruAwZ7svT6IXWcV8A8fbqHhzG2Pvc9++IRpa99qlYiMLp2h2EZwZ/bygCHs2+LWaSOq6woO3FUQALQwfrrDNagbSL4ZrVg3kCmDJylgvUzwwhlPR/bbO98HVObTfkAtvpEw1H84iykprKmBEMrUA7HK4sD6leJxWLeRMdRC42lrT41Bi4dpZtNaXllGilnnAN1olpkyFE3fly1LrwvMTSUPJjNbU6ahyEYUxBT03wW3sZw5R6xC32vqH7S6OrAN+1kXw0I6XoyYhUUj8UDyNJRlgzvBPVtJoC/41FqKnq0MK8QpEy7G6ck55pMkcmLWB+k8eCr1UURi1iRmK65qZ5Mkxigr8AZMjEKStlWKPMelLnxbKEj0IS7u+gsom6AqClz8Ef4IOFo/MjSoq7fmc+3zGeRifHjVedPiVa3ATK/Dm1pk4d11I7+KnrdekDa2QKvga5P5N90V1QOKCHIni0Tt7XdmYTtB/NYp7O9UrWWCHg1F15RnOyKMWD8Ze9YNx7sj634lcZPLK8t1W7XvIowEvmmvufX5H6yUMU46n8NVwznJXu5X9gC+Sd94hiok262vAU/2nWUEfaApqffp3i5PPTaqgIBbTORfCKzHX91HYMuHgvTj9PW1lZP0Y6GPHXzRc4njGVspcVLxdjRfA5vB38GjRVHrRa6wqBLn3z0hdy6eSyBblyPdihjV7TGN+oDEMcI3TC++giHsdvfI8TNL+K2V1C3mzVaVYbgIJkJQ9c1bkXJkGr7OYVx0J0uvTBf48OTVsxtz4FTCLbhKH3Q41K8I+Al7yX9Bd86IpqclJoQPuq0zlft2Helr/HROukCPCcK2ztt5yaNwKa+sqrLQ9UeqkwSkJAh9WIK38wEum8zMoZQI26KfR16qOH4+oUekzxAt2UQpvwSFNLFnP9BricaLhZQ0iao+2t9ZqiRR5QWwwGOMyTSWpbYvhQV6jNpcPloRSuds4ktsQQYZkzscdhXsmJOc8xXyd6/OR9TCMeCJ7XQGOb5G3F6FiXJBhQCMLieU8o1mu5QHHVbOTEVV9tdVIts8MASdnVhuskvlrJS0znRqzhGz4HFtkdViCh5LnEaxEMDSyFVaRlWO9nWYN6XdBWgoNV13X8agRNeXV191kILOKki1ZOIl5DlvEcQtMefJLfe66MCTiIP6ClgJYOHG0yCBoxgJ0esA60JqcKOOozSEL7Hde38Mc4xT5wWe0d1hdcnEG9r2yT/EAPUogZjC3dYv1W/AQ0nRAN2W23Z3UWf0j4Bx6KUy+sG6Y8J7JveAJiB/JFRfY030kZ4hA8H1nRczVm028vWFE79G69sWQB9Oak4GS9PwI8LyanrHOPEN/EgShVbqLi3O77AH759Y7oMIAjpDECslYMPHQ2gvQqu6n4a5C0jPlkGIs/L0NEW0nuwFoz/CLNbql87z5xVeRzyYOq2TJ4nTn4JA8yeU0mICPuubw/kzOpO1N3y3ZQlQO6sEve7b/67o3U+9HS+Ymsg/S2X9pdsFZtQUXK3CIWdktsoYoUBrwhY2tOujhEif8igbFcjHk/ZBtDrg6BQ0kdXR3ST34kGf6Uto20yx8IHyUKkW+EVTpJxrY4+cGKYt+mFuvR9aEFNpVBocJ0MV/GdKjbH7HqK+lYVrIvz2XvbHyBwmTjWwHyE57kgybOfLKCZEdNlP/WTPz/Tzx6aZWRWLtgCN3ZLyMBlrBFS0o+WL92FKM6LVFNqIv2JjQ29r2cBtMZkzWqep1ed5sAnsi0+jz0szSnvFfm6oMLUvKWNxh6Twh93N0QamIP460m3mM6t9BGvVv9qjKZ+f5HWS7Kj3rzQOTyigBhnL/Mh6Xnf5WBrUhZGmNh3evBcW6UxGlATAnciM5XBxenLqCiGx7XX2Mre+6VDG9OzRF31xlZdqEPO6c451T+Lg0SwTb4Dw4yEE0kNUMNi9zoqMy7LA9zZwhTA2QVKhif3ry5ayR0hFOGJJ1m0uUA1syEkqskKguMb//zEMckcPTX6HLxsp0c2dMaRhnBrjdRYa0XM2FDjRxdYfsp62KtA/bWvrT1HBZtbXfJNatp8qgVQrYt8JNGRXFanfN2ohd5VbkzX6x4JhqpuSDwy91IEUz52HdPRGhrRAvs6UU1VlZZOXqrRnhjqaHJQCoYICOdmJXRBtJj3JXQnT/r8QJY6rueifypNqLpm8etAe4mj7yHeUV5QlxySbj3NXV9NnYkcMKjYaW/BY1IoulujSBKV/yu4OLS09y9VvqR09HeKn/pbF7r+/wj8OUHzljjylj3tIYBMu1PLPgVaq/S7xy5NebGXL9uSkhji34H+jdGJ3raShLyV9Fi9Q9pGI1oGr75oXKwjVTvy0FPu62MLMrfY3VC7vve+6y3adnWWihLIyQXtO4FMr1a7IcnRkVN45KP1zrK+vcaHC6JX6STaUjGscu2Rk1cvTSWLDnaMBzDl1N7TgRhOH8Hf+l3OTb3m8j27bgwoZT9OM5PP49uKS8CprIR9Kd4+h8XzUIllEERSxMXVMvIKMcrFvRwomsTNpma9eF02KmWqWm67mVFNRf2NFT1W2dngT1Pu/dgsyfCinitr7yGBjYJWc+mhq1yfkT27jC6HDWEnJNk8z8ycOWV2LAXh+rfThjRjGa7XNTk5G5J71nL5wyMasRDvr4J42j0Zo2C5xiVnDnyWqKF2poQRM0eon1FebIQWsHlpJPINKS2l9uV2K4TzEFeaWfZUgN80rG6rxt9uResvKxp0jXMUCzgk5hU8ZCGcd5zvhQAWi5gKMuVbvKrcGnjHofGEC07rtHlqFNdGUQacNc9IZBtOBvyBAk2zJk/ikZTYjBnDmUz1jtig6wjp3Z73qi7C9TDJ83yVqfjv1eckS9w5GsD1M25hrw0SSv1FQceGirValuTWkrUYTSJkPPWYtjv6Plng4ItdAH9m3kMR4oS6Q37FKeCK3i0z2pFG/V1ob/2cfLzqnXUAqG/uwDovSVU3KEeTM47VaROgeZaaJTS9L9RGDQrR5+FXVvOgXFJ22DkWZWGaa7cH5oiqPux90/GtYm/BdzLafkVd+4bdl9M2qVR8ADCQKD9Jc+roErh/w/5tGjOgdoxbNMgxoJDm5TQ0mNjfSP//19lAvwdZA3uPJrAkyxYdYkVxvzayZIDlmTZE/WtjaZTI/kRM1b+kIkTIO77JMeBbBeXBc6rzpDe0iP53pLFWaIKnLaaeb1sYKRj/QRMdNHDC1WX/LRFs8uSLjoSrkgMUqOrSdlSuBOCSfE+Dy3SpBwvvU1MtKf5SlGQ92HVNcrf+iK7IDCsrPDdVFd9QkU1eBxcDVKuvO0xuvvkW9jwaa81yHSF420H354hqdk8QICDBiBGNwXL85yZV3k8qqmZYBcj7Kr8/9FiifjMKf+YKhHlr/2Oe8A9g9/npnjrWd8EzvatNqrxbuasqTdcAXmC6H+iCab24pjAt4KGp9RdxU7crPN/8jXHcem0U6+lBntOa8iw+G63jRH0CKblLfEtWhcB0hdEiHMYuMqzcytWLkZztFi/34L4BS+RW8DcURzBZqsW1rthJeHWXDTKKixoaP2MsADMgjhcbXM32aAIAQmtGoYIDffN2Hn9BMVxAHoTfMEv5hav31iT9v7OIrCilZGNsp+4tpvg0mDABSTC0bTIV374X3xsapUOO4XmO8zQ5dNR6UihldcwVipUNO7hKBCXL+Jx6CxeEapW6ermDc/9oI0zg7+dg4YTN2KFYyUQcKJtx1ezIO6OPJxHJLyBU/a7ORxyFCTZ+FF4pQUstX6YZ8BkHKFHdXmKJiWPCW1XESwOqkRd+vO6Y8f9jo0HMM6ISvXKkGCK8+pzo0QR2aKoZcwdRLs/FMVxFmmrgpiimqICNhTzEE4Le+NUJ8UoB2s7Pq8453Nv9O5R43vz0sxM1FqCC5P5qwxJib+Z66h6p911hWLmL/xOQkmLNbx4IQkd3z+7rlAEBVfr46ESa9DGPOXEIg4T9hYlstafFARhqlwu6J66kUpo5koqVxO9U/81dmsg/0HMHMgr+clIdaqANYM2nq/llgySeQjnuJwpjtwWyLDtCM51uZ5vKYb/t7kkza/TZY0YJQg/lPdfmbk8BDGnYMCGKLpWZNXKYfG0SPUfocL6gb6zAdxCnJm/CZCAgixcvd3uh3k2fXWRrt91MFqhhdBCs3uRlYH0I3h+bnpoPC+xBFp13B8wBNf7nlZlk+CogcNtUJPw0yBbRcxm6C7PhKcT+MMYKTDNdo/EhnMgaURcyUpo1J0X5rS+KkIYC66vGMGtcHnZZ0woQTjOwKYTS9yLlXjU59CQMwmIs8gFhT7g6CAoqKfjosTAhvVBYz+6NdMb1odheeOfN56DNRGLa0Xkgh00ifGowErhU6tkxBKrjyG9xSI/ya9nhy8nY/F/uMe2ljEs/X/BQcKAtMUJ0W0QFBuauVkhTT4fCaOb1JTsGVLGx0Qb1/gJpWsXD2a91swDYffSfIYyrcw28Dbk4nUsC2JxYUz/WNQjHD1d+n3MkjmurKkkZbdrRCBMDVK4KXcCN3V0GlcXmhOmSNGX8Tfb0Ju0Rqqnvau3AoRTxR5Myn/WUOQEG+s6Q/zd15BZd2DUP45yI4IgVJsqftinploMqFJ19vKSVKXOz8Bq6O3NEeURrvbyhzloIa3ECuPRyoZo6dQE5UpRtXv8ISmohTS2q6tAyCpIdJf4lImWsQCD1Pe3vIdd4z65Zubtg4R4rxSAMjnIMM3VIpbNOQs1BE+Otp8ikxSyf0Enezf/YCjLii55ZDOcm4B/gDMKc/aPmmvAMPsh/kpyCJGKqJW7+UN77Uw8yvOaPKHiPk6mRcCspsJklbyHQ4fD2OkWbQPNBpRDXMAVUQYiDWmxyeQDUGhVWbGr4gSh4yA5qD4FOcaNAgMETQQ21YRsDG8v9ZnhKTzuFKg0CYMXk+Ztr9OfZWWwid7wrP+YDHO/w5eQ+10vU8lU2GnMZ/nyT4bCRd8GIgobaSSqI8XQXs9spwFaCRgkr0Md+qnNlvtc94FQRC/RC9/7PYvjzOLoAFMa5tGjyejRnTRfYH8ybsEzHSY9BmOLQq7i+M8iJGhqynlY9EMxuikRxGR+s00nHdAWigceHxrw9QPVBPh9TOqdo2NLVwdhFAzvUB/J1HMP9iZb0be+cedt7ngW+qZzkvaHh3+cDdmpZdRQ+Hbw5R9gqXMQ+M9OE6AG8bf7WrYd/4esWNafiVcku5G9gzqzpj6eSpel0C/IX0G6gMAIE6ON2l9lqQGAouD/uanafdtJ23I23MlLzUHj+WWetQMExOe9bZ4Le1EkTACEB/LMedg+mOlN28UaCHwL3EHBZdL7Av89ea4GWozzjdYhpdn8mKXD9vhzI81O4BNMnpSOZfCM/pmwwgGoQTTjhk3GJrLwIv1rCP1/AT39iXoovPp9lMtI3CBnXcC1k5yYjx6qoFD2iJ5dZVxd3gXiD+kiLNUSq/kM6tyHhBPu76tuRC3bilaPuj49QbTkY/8lSJyXuI75NXsJKvuS+aQXAF3ORP9lwOwJwEMdlcRlfjN3Q2e+RyVfuAFhXMFSAEyMu3h8i+lTaCF3S4z8gCXILydU3Ohi8bIsEpvRsMEypGSzgx7ZWy215l/DdIErSRG3IJfFWQ9Zg5z9FqcxQ6jYcnEr5VbnV0trMCzx0qwmh84/0jrMgdG3MO53B1fbTdvL32m0ZInNxWbPE4jFXsXYerBLbNOpYDiVBae9BbZaE6UAGulCh91OSgwFwfIvKcp5BiO/Yqq5dIFU5YMOOk6qE8ZaFZLqgRi73TfNo/uO411l+9EIL+VYXGdvPxZ0FGWI3K1HAxd54lB8bJRYB0V0xXpE1KELhIJnCT2lejTKeHRgLBRWBGxEkiyOckNhNwNwnDc4yix8PI7PU5syPUSeCIRgx8wZqkhBtYgEh85dZ2OhZEiJtkKG1rJ4nZR8ktnWc2c40cHnAvcQyG0tZxRhcWhJ+zKkVUlYmjZixUGQnF5Ea6ck5GK2DKwE9b9ZvlRgEmNFMGYLINT1YZcTuNo+fulpIutAvLWOP4tqlAVdc0MyMVqikzpiBPFM6h+B6IAaqKU8PRofhGaHiaWwmnZuCI+Y78/agUWLrFpz9iCfKWDskodAhUMiQW81oia7mR1vxRiSqffpmeJmLfWQeNIaa7lUMuNaHUhjB8aVoRAXhrJ7u1wmmYFoqSbcD7Gghqoacp0Xnb2TJJfVf6EJOBomGyWaXr1bZlubus9eOGnDXUIRAsV5U/rZPMDScevaOenp9OWtjqs3MkI5dvsyA9EOomULOntP5f7RDFEqOjmzdBOeM3IwVL9EhistIoN52RiCGWXRCA1w2BEGHKXY7/uZypbX7RFZ4wTGQa2+OTFpYy5lLK0rrvPFl3RUeDzsMgrfnNVEdDQoYjoe+jH44zYgt+96C0DUQTwgizjJpkSxDW21xJS5TkKf+hfRONtWpumc2NbUe5CqFzI2cX08pTmPDP5gXjVxWgsSZAijb1NZU7VTV+vsARt/xmtJs3zXY0kaKT0MgcvhK9eW3zvuvy4SDydNVyWWFAsTdlWdcZgpkTWbxGIUGrArxBcS0dQEZh7iHgh57kz+Ztw67Va1fY40xMPtBrrSDPBuWEKJHawCMbfyiKLiy+hIYeAbQizvnlfmDtI00ScvEoq6r0xQbyMKMHY+xT6qTpkMMvrWuN/Gm9sd2XhE6Skqqibtko4HQK+/choYByZK1ZJ+vAuudlegDCwwt0YWzy3tPn+VqdLvQdM8zAa8XQVMGLi8Uv3ypNq6eHQVWPja05jxec40qLhl/M3l4ga2ZoGzJWwbbAn068rJ7mDovs6WrmsnAatker5XluDNArenToSEcEpDR9d34eepRLg61Gc9oass+PU9+v88xD+XzHT0eGh3kvFLI1Tl6FqdJQDBUwJRi4dcsoHEFWb6HS7enlKVI7yvuogzVCy8TV2c0gBUzqo5OKZtDkcOUhrtcKnd55H6/Dk3BMKC4WVifY9IJy+TidvGCIiCq/HoZJAaDFs+PCz2EnLZdpHNNJv8Myx7QSM+9cuVcqpQBkBULx1xgMfrlAFOpNzq+fzKUf1AHMVun0YNDFYjEOQPkGeNdrDf+Dz5l2rbcwrjVCAregq6N2aTH7nxl4lD02WLjPppcBB+FVYN7w5B6ScS/pAuVDLQznJBfg+S5wHe2yD4T/cu7SvGUEJxUMMWHJE9Ze+sArLrZEfIIFmcgqEstlrlFEJkBb5emrerqg93Ro6QduxqifGVoDNa3TUXr5CE2H2mlcdeqWXxqi+qtK7AEwiw7zcihKCh1c6rchLP/6T6gHqsrTmd1NIQs8IRBA/2smMHShO/3yOPerLw8VydwnWJTE/Eu3SRoozuYUX8Nh7ntqNY2984GrDFIl9lwPZxjk7MDk89e1YZu/HLss3dCy3g6sUfAFVtrM/HjM8K8c5VFmxW78JvgfeSJCI8HieHHPmaGvTdeIj39csTLGkRo+tTPqnJwWPk0Q4zlnnacny+LaB5YULvnCDfZ4NAVA9IHyFodqmrmcOKwSWV+ntlwR2tDTLQBz5efLCY4lNYO6yAX4owprbZhGBHcO5LlJYV+oV/h2/Rnszw4Y5Vz7pTLU+SedWLvzuQqyL2UlGHp09Yeem9UMerLSEqzP2SzT6iTCfMYtkUhhrN6tlQQap2Hqj5hgzUgde58PXc7bE95PWLHwTuZ360yckHrEqLgi6B3VE7DSdAYZVqVgoKfMI0zUABIs3tvcgwcNi5b2LfYwF1q2bVobba5hmbOKUQvaIYa+M/jvTPyzNGlusd3wPT8MIOm7jnFeGDxnrVepXLBT8wEGCMVvWD2mpZitn9dxSZFILNKDdXvS7fRkcgIzcIdjdIeG8kbCU1gYPUeVj4oGb2gwVO0fwBxIYuHYWL+f4i3BUW9GNQb68ddza2qGmC+W8uZs/Ue9N4tpl5tC39JLs8BwBqxUk6IPCVyzC1lQBSlV3AcBnsqJVE7S9fICUfcnuhk4y52r2egT8NU9C9xBNilPWOvxywMTuY64DTJ4y+usEtr1l56RDGgO3SFu+NdOAuUuQDhnaYypPdgod0vVY6GPpqxDEiFn/pXdpqsUAwpyB2pbMobGECQNIdJUtVGobCrkyIOw74NGPuKbdguvE6cEQUgozkDl0Y3MSChZo+JtIcqXYTdxJ2vyqX/uG7Zb70AY/WWXsRRhElRzrsy0jZe7XsZJdkboe3mVA60XrjDfEiG9stwQxqF/Xkn6hCWijxX9nGbucyHlILIfHwoyFalpM4YvkX1dVznor6wntFRbb8bmbN+6HiCIW2wzqL+Wwil7Mts/fKgixFhaM963554gNvHeQWQ30CNIJjLFjN5ETTx18P3B8DjWcLDC3EJSjB3B+TpXTgLv5k6GEg6kGQwT9riCKEs2SG9qFF5t/ANvD1wYEP0iQxRDUmOvfXSlOlph5jT2FmT9vTXzcGNSrLEY5dd2cmxTAam5pVTeN0AOUyqay0Kf1Av2ekfR+/7snoDpTJUPAz9t7OPzG0DMOEP8qwk2gAWnwq3WSyxKbVLV0bdC2EUsXwZ/SL3Rf5uwZhpOQ9ZeIlC35kZDmatuonAckJzRukGtur66sTO/LOw6R1drNTSwadRD3PqOKMtbJO0BgHFOMN0ZzH00Ws7yuAPTq4tu6RHbleFyuNhgg8dNubWG1/V31YHcpD2+nnUu2IQS/yYl02xV7jAOmIr7WGnVQA2H0gMJBlEWMT8n0d9RSgSjMGYLowRyHRwGtlFXZ6C/s/My29GkD8gdQ/Xzf7xoCYkCS3Qkn5kXrN1az2XDasr6Vi9+qu0HnRc2MYy2daHqlXRX83CJpRHSaxFh4bjkraGUJDDeRd2k2hfGsjFYYO/CwGOd/S56eW4PfBMlocoCJREilIRO6MJQ4XlsWiB8NEFKFTDkbPGxxdBi6DsKSTnE9qeEjd6ZgoMdg5fV5K0w4bOMDaaNaQgfT/OQuTEpvURqaiiTQoX0PnlePtFIFHBLPUSR1ITv3xsVVV+ZqlcARBSiGkB2y/dp6IiNV5+oOAa93xQeju5gjY8TPoyAB6UkWzC69epW9TEowz20brBZZ6Q6HpQPkHmcLnvR5us9OWD5RtH2v4o0vQuHa0ljOcj6PV7ohhNITIYpC3gg6EYIDwpipZoA/tFzDnAbAdECVTXTJEv4x4pyQgcFnYPul6PS04NtZo0II6hz9iqgk2D/Cq7ouP6YFfVGL+2qXuo2PkL/9Emic1pEepYDlhm+GFrGQnAl5qJriPUS4lrIQat7gh35HPVCJiVSR58tFWsGbDgRAABLoNAlBhefEUQK+wx1aTUtvFVzbYpBye3E4J9ioUU7rvUQgh5etIVf5dEFiOH188rKgBzp273HS+WCR4xB/RRQC0IkRMaEyUvpBQHewjcpxLBNOYQi5uSwCuIvHBQigxugTQVJT2reZD/aZFtcg4rJH1GlJIfk7E+sPp9oAmuH2btKEyGDatwsG0EfPlaxPcMfCwm7nRQqHJz58973lm9G4G2h3FNmiGsRlRLEmdAuLxqzN6MR2ApQbmLGiSoNo8BqKxKayrf4DBan7zQIOxWFLPL28rUrN6RKKKUHk3VTFHF6gPjn61s5oUQJDniBOoo0b0Ko0V+x6OZCDg17aLqrsgXcT89cUFxzoRfKqWn/CvQH/M73zzE217APRJ6Nep824UTSelluS7vZA0qaKmkv4GHY3aNKjhAgo5WbAolb7inOJoVY/c1zhCDGvap9w5jR7lUAOsK8TUhSNwtAaYgYUbWwLpYYjUbpkcntLJc5RaQgUOCpQsc98T1pTvNK6nIDNkPhOjbMBA3laKgFi+FVwwB5IDK8Ig81hTTg/wVbDnH9Um/ZwPjgwX3hyHoAkH7HbX+3YIZbG2FgmPsj+Q/e7URe4W8WgQstQLpl7ikpabMNsWcty8QDhOwmIRtuyiGNvvNFKKuZsGgGlDAFWZcEOn0tOs3l19UpMbPdVMnBUlENSzWuyTWRKjYNRpKVEwGBaxzgzpEQzZ4mobDbVNwNqtX0YDytDTUHwusJfOoruQWAYMpBttVK3//h8zEtelrFattm8AH5wohXKHfsJmuGGFzUYtWABkfMMCu7ZIggrgZ0ly15Wtfm2FuvH5yz09hnEZYBx/gFvh4XHm44SIRASrAzKFMpoiPTODlqFfPte9aMynZWN/8qAiZ32kGWxd427CK+ddaGBwPMAaZUKnar5JgLAKknrMcuniqWAMKtdo5tCMshlacfvA7Zg62hsLKYn2NJZTtuT1sBxLghMD8SRr63ufebRgSal9E8JJg4DtnoP4zqEPeKgnQXu7YcayKKNKldrpLD4+bY1MRuQYGaQDtVWzd9F8OhIY4KlXIkCYO80ZdhlxPqsMybmBiQrlbAStxs/7zkRwDwFfTYVQxA1wFEaflinsDu64Ya6eIHQoDc0G5XFninRvK7hbxFGfGEi4SoyS4HBqWDfVvT99PE8NmaZoSYWO3TVCSGLL5OSVlsSiokP/N5ocEeShDdDJzLsV1fY2/o7I/0pJZiSBcFZNz1IRqLlRqunhlN9QEBYabGKE36c5Y4ZqhJJykqW7guYdWRP/Dz7Ho5+JSGw97KKeYUwDJXhO8BZdjKSrvgq0bwcG+BL89LJdsurychi5W8jnTag8dDzdQZ3f8ScPt4A6knL3j3o5R9OAMEfy70Vyp58Ro24b6IEIqMMFQKqsN0AZD+TzbvQ84QUwzScTs8nGPxxTVD/C9iuMlKTmVDlwaVWyyC8VzwRNrVnX8n2W6PCFlxs0RgbfIL3E5lRdEo1KqtHrfSlkinXrPfYgt7znfEub64g63qQMAkAYRaRtNF7QAKc677xNT9ZKvjvKtVcJhs6QCV3bAmoOymu88X4rOTF0Kpm+AZ/tHMYTEz9l6K2C0WIrYCZVE0QHNU8/m9F1GI6uG8H38cRR9wFtl3gONX4Rx0VqvsGmPWXXk2CKC/7Szv7KB6RmoZH1fdrxHw9OMHrinRJyHXO9Tkwl7sm4uaFfVW0XWQZCIpAnhrxJfovsqv0U9PazyfZzZLJbtqQv5mFzESdaLmPRXdJoIcvrsK5hvEEYlM1GyppZD7Ncea8lmfNqw9xbjR/+g7p+U7reaIQx1NaFqiew6Y8z3vUpP384+mSsOBm3YLD9cWrVt1nxzaLqBDzIosVNKmjLR0jEkIb2wd5tvCNHWkl/WDMomAZ53D7j67jq6y5RvBE/w6ry3BC0PB+K8iH1Rb+LMUHO+k1eXhtajxcPze5nZxr0jjIkXWqy3L9pJPElIbAi7dBzzKHIq5uiPHGlkeQnOoV+8WiRcX9zycSPGdrysX5nN/OwH3ArPpMg6XPLDCqWDJpu1VPfcwffvCgoXRaFH9w6gQD32doRuhm/Ae2cltPJRe/ZFfLrOEjSiUkiPGLUa6F7fRsugwhUc/cOLOc2YLxyG7Fv7YvolIzbTVLdSxliIWH8NCSyugaj8W4DsVEseHCRNlruJVRkSWrME9B3rO5FJMNmfQgE5XbZoh1dBAz+eg9wZ4mdG0ZJgxrWas8I06H/FX2N4sSO3buKkO+rsvoI2r9pBR3yOQyVFaXpGvGNiy+xljArb3XnfIU+JdoDynY+QkOZBJsgFD+h/lT1v/JkskHkELF78oMN9in0KBPU/g4ieFukqvJCaa7+HIgvXf5hgYAbBrVGUMc1OHY0nKwl6WZxEhm40CdOWkCQNrBMOGOa/Dn/vUwDmiIofkmT0mtL3xVUuVokWw+C2pcsASS9nGth1S4zrMbU4ODM4gTXLvdqAVoO5FUKOUgcAcVb1leeov5AfafftPSMRpSsRLlM1P07NbF+9ekjXfcXF0/h/93+tgQzNl2ETlZJxxjO4zG7jr/6R8bzxbKFQhCUVagCBH1yn0CBdAP4ogPkEiOioOUvYvnmAvpxDVMpvRTkMOE+ePehEYIpPrn55i75QpoflhMRytRU0LS/KSicDVj5aoAN/nTLHEr0oZAEY8Ljxu3txcVfvQrVwOcG3m/CizdHJhwM7CGExCax5EkktIr3gT7+56Ic3aw6CkC5j/3xYuMh9ID//UYJsXnJoTbJuFlAG7fYhfMMhUDR/ZdgvyJRwymu4Gey1iSeujNFZXzQ2jfNY5qK/CjCwo32j+p3RJzpiAeyXETf9KAjTKtJ/IZZj1xVGDfNSITsNoXMPFfUKdgYFw5r1dy/WF8oGVuHNsKi17mol97y58AfAOjmzH7zW7vgdRnKLL51sJfUolfgn8s1AAlSu6II4YggKOtPNDbb9AjN1s357Icerhmcl8OcViio749ducH/iW9GQHl8/7fVeg6MHJt9fOIMFO8i16+wZBXvAKH9+LW/f0WXDkgkAVxC8PQI1e+ZRX6pXFKMVfx/HvamP/AZbDhldlVTJzZwXBfcjKx4ItEQdpl4PMt/gYI2GaeEpeCTmdp+YBD8x6VlLHJpRM+gfe5QM2ep1jmIk5q1pzIROBrwYeeJnw4Gklo5mi10Nv0vFtsdKck77GwR321asZczl6/Z+qfN1YUbEys5SXFr80ET2blEjA70wQ9VKq69LBuqKjzZpFQZteQdWAI+iS/jm5joWpQ2iTWBhf2RTfq2sRJ9e2IUTF//QsoWJAdjGflsq719ziBtnk0g5K2/M05x9N2VfZYC+gvtWkkMa6mjUbqhIc43BbPbvVmicmxho4O4+ojHg4h7dt3Y/dimtHK1w0YZ5cp8CN6NXTfqX/SwvaEPI4rX6FO4RiYD+5NS9P1BybGH8+s3JkP79ypcYC0x4gjN+ZWcJpZSOtryn8inOiW25zq+Xxq6zLHjY2euOnXiXqsf+GlXIK/kQv12DGgahJtdfzwc5G1VrhCALahB8pJCEIEv2K5avp+epVRwWaJ/jX6cOsPQ1cetwZVrjHwQwN/dLZCTCNrM42eqenvSf2H9pC7G4ZAMu2coGZ7UXiIutlGsT1O0rlj82f8+wvVih6ePmSsPlMs37cGv4mNw9WL8NxSM3Sjv+RFVlbcDrCseIvPA+miKGl1Hpzn5xCO2ebsPU0I2GdkdpfWnNMmLu3bsKRGyvhefs5KIKZ7YcwVXrVpM+oPN1k+IFC5DMQDc3L6+q8frc+21lVM3b0GU1szyCTHAONHxcjmAgIyfAmnXpu+MKDljTIf31bb77NOKU678jftO/O6kfm9msvvxh6jxKVAs4pxuMN9wghQZGakTA2ztWeiJjOEzdTxQqlH1D++A7UglusG5vGkzLH1aQk3i4jjMAqWe2LkEHsOnKTEtPbMflS0adJOPT160MFNl95mmmAYvQvG8uGfAy3yLfblflf2pgzxyn2EzR1E02BmC7tanv+bv4O+Vxp6mmt3O0nHofl4S5ANsBWwVLLwmTDv2BR7CChqNA9CqbG0nnU67QYpUzt05p6oYTxyP5l7ZDS9+OpW3vATtw6pRwb8CRD1NPnno+ixhPrqtTeOD5K+WRdxYT/Ebk58KRwLzzUt0tQZMDfo7UuelnU2GFkCd+asQTUhzQCjV+8Qm0R9oJSzQa0F6KQNOcgQIuNjKolimWFpVT6BxCWkankV1rHqkDdLrEqThTfR79JnJ/Pk2P7c3Cf9lvGDIBXo9UIV2E/qaL38rosXtxS7oBVnCWv1ix7OuHNN5xHr9UNg9jboAvXlIN7/SSWwnH2i4WTT1BtYsNrQ9d4U/uqbhvFW7e0n6fOfuxxb+BfMwZz1Zpcb4XDMa6LDr2Jtq5D0Or/sVH5GN2Z3z6+kJrXWz/dCdEn5ag+8Y/DHgMkr7Az/p0xCepXaxec3u/2oxPU4DjN9x+A6zffREn2WvOqcQKXr0E48+kQUTTaLsQ8Sz3vjDHJN26RhlhutRx3Wa0AMwQfF2sPHPsZpQJ7pqLvLCvBjOGKt+jWcFwA/jEFlPw/9enbIuJpl+yWOG2XkTEifKfXqF4BCTV51DxpMhCyb0aCRSnVDgcBRBIvZ8iMqhlJeG43zI8GjjZRNbJI8KCywQ1i2MyPam/WDXHHzXYgOkgPOJK8MYQ6His8LboBslXEZ7ajh1TX2Z0ErwbfhOfaL6eaDOCB6WnosaOgG7FHpzVWY9WD91q4ZK6tj3r9YPNoWKQsjUvfQMmyv8KbQAYkCtzvPpcggZEmsCoGYmplKP2ps7ZncfNgPZTj/BE7t+ipRp0I8V64QA12WyImLgMLDokPtw6OWR3AM6Ba8c7w5Q1x2VYkoXsIXBU2gdEEwbEouTLM5G1rnP88YJrT5bJn31OC4pLqB9JDCb9xzB4q/agVhjbn+m9PhDGldVO5W+YWt4ZdR6YgIa8Dzqw4NxLAchCfNzobaU0dxCW2jVEMF4GKu/cSPv/xPGZs0XMpCxQN9kyNV2M8dGWharklVvYm0Xmx9IjcfnAWLHKWBGLzwtUsL9suhj5CIgPUt/FYTiJpZ3Z0apHG0Y2oXZf8w3XLu7T88WfnFhVgIsDKqZbD8rS8MDA0VWvyQBcu6hkZxSYAnmC6b3gCGUsFaflU9K3CLvBw2HgqNR9d6MBQ0DPajioG4bd4RJRHEp3I5S0zpmVgtS2O/afivkkhv6mtHFhvy1fzUNrDDm+WR6EfCjaJKj3i9wblwBTaCcFP4C5ZX6xmyFloxYDQlPKoGRCzn0YOib6bye1HC0lVhEgBwkGl2fo6QVvtuW6U9vWnQjVYZkNDBpAPKr7E9KOlHo50iVmSbg+55wdDj5GbUZaqKf0UidvixEg7UKgof97R8W6UlJLIwHuCe+xy+5x0O4i1X3szbL3vq/gDgZkZhKUpAOeYviPfXUBEvL/BzykB7lRLxF320S7JoSiVoLIoKCNL3EUzfXpDjaEBzXsGqjfsDE/Afvbl7ew62lr952u8oO1p685cq3/AfCmSjHS6cTFGNbfrakDi80iTF3IXNcjLouhspnXbDh4fNJVHRJbndeHOZGSv1wdjCrq9Y3UqkjwL0LRaUZXGD7g95Fbng0LAqatVUjYZ7+mZW0lo6NFeiChT2Iw/gj4tDwjj0vpf6cDzYUGjHot14TmnlKOI+uST9Zb2Dl4jRUestYrwthuYMCYjYc55peLTeoiYVuCfm9O3NAhuGbs2mkU3+SJ1xnV029e/eJ2wzIjAERv9vDLg6qLeiAyhff2iBa/CL9y2iGWg/zRErqXq07MivdKsGFXExWs5hykjgRjyuXkjqCfAL0N/YMfrRRavvV/ftD0JpV7XLdfQUOEF9rV4AseZCG+wYvwoJIvRsvmhMTMuwduunmYC9FsbEFOsFPYizkwJx5buIawqfbvBDSE1Y6+dGgR0byyHMoOE2MuAfdGb7tOMo2yYAxudLhYmYMCPpa7tz3eupDg2bz9jxSECAMhxaQi6MX8AOkADnleD0jDgT7+AhaitvBlWTHjwuEALFcLLb9S/vCP56lRMHzVWKiAjI2F1AXrAa+gM+PSEXM+mOTQvVpY+0fOHgnA5ApjU3nszT/+w2NFpk+eT0m/IJKOUFOUktu6H4XHu4en6cQVatsPPe80ILyw+4NQoGK/OVzj3uCOxnROq9P039ObYDVsGrz7+BmtD3A8oMFeJ4Ew7U6izyZNc2pxu2X6UIIwlXEPbf1vtKQAoV5dQs/MvqagiEYyNB+K3uAVDc4rUTEAcCHEzf4uzUG/yR4ttiIXPxlAL76aNPJ96uVNNr2MqYQrE7Q+3gFN6jxFWYid6XIM2LXXPyC7mXKCSAXW78b/W7QAtiUuoyvoFi1u23PWXQkhoViq5VW2k/LnZeUVHBMKolPPV6s44vaSJZ2Jk674f43hmGjeeHsJJegKQm9eI07+dYQZdXS3q5wqDhk01lu1wQJzUuwHrxBOSsYCZ5kGs7YZ7CCMqrDc7cHoJhdflskOtRZ8STF3IMaZ6aHKUQ7sRFY0S1U7Znq9w0UkxX5Q0ybhqecSZlCdU0KEiqjXr1ntysqIWoihFcyfc+Rtbx3AnNCJGfdoZvR5KPCURVLYTbJ+qCMyxOoQwZYRfzIz8xrK0n84Q4JJc1WJVoqRzjY0tGcFbjRiPWd8bBQ7OmztaK7tu85iXjeTkfMT5gwjtQQ/houyu+JFNqOUUfi3P7KVXuxMCoCrNdublQREvAFOiKthlgR3Q91W1X8JZrWjtVTxBd0Z4aFG2LbZi1lYkV7nHX74lFPY8qAOfFB2Uyswxaqi9Vl8YYh5zew+AjsyOp4plN3bUnrzS1M9YAS3PEBKEadQsRuqhf10pFWvGrokVaXCsPhGiqSsV3n4LrrgENxYzn/Snsj33uSs3L3mCRXuGFPDq4+2bF2uxQqq6eHykoGTEOPhWI3PQ5dYY2rPjBIEM54ZjdqFf1Wl2TWe8/aD54kG67Jc8yzG+f8+NxAXnAL1KU/ucTkD/RYljS5zSIjNFkAs4Di6yJ0eCYfT57PpfPzRDSE6lTWr9vx/4C4rzUudzg04oh5ga8lVI/xmtkZJZBgg20T48hUB/J221kLIOER2i1C3HiHFntnT0cbuLnlLWpH01T46JtGTAiOo8q5mnkpmR398bYVrOdjmo3N7pdMKPCu40D857iaYu+h0tdO9BAz5/4OLhDNK89ydNBIkVe7fLvItrwnhWESTvQXOfaQLznLt529B8g5BoA+8gJPIrHWJXLriNBotc1iV7oZYYIXnNTlrvi1FC6rvjNVBcPALoyWFpm+BnR6INz7entnN5GHrGontbPMuyOmxJz8Md/vk5SE5+trpK7c+VEJBjRxIzUem7Qno3Jp9ouRc5WuGaGxZjt940MVZfkqRvP32foUQe0oMw9G0mGE5yahFPehEk9Ypv36Si39CK14pmaCvelnxxK28CTZbGgukdcISzLdCtdn2eVBwLSEcLdQav17n3/ll0b16QYMvmkdEtdUQJNCMNGzKpzhb08seGZsLI79gc660zZTG6dV4Wl0u9M1yzsCpMkipx0k4EOmquJ7sPpsXbN/4tnA3PNw9/WH4VrFFfJsgzhcnSRGr7v/Keo0ypiFFXbEU1Eo9rX71j8kKntySv8wZDI4Wk890J9So/rgXOE61sZoRuxJMSYAd1h4CyimKPwm/2d0HmyTcjcXDA/Z5LKkI6iYualPnV0WNFor+4Eu1lgUPu1+tchtx5gBaFO1aUFmm7KNh4fSu78k4GfyNrqWveYsFv6zfHYY1m4Toqjce74qHR/DvD8lj5C3RXnTM/oadpob+BU3iP0frfFs7e/yobnH/9KS/DcKdGo8ECI/3ZXxX++z1TOmUC7dxU7QiSAfZEoXpPUmZ9B6paSnoWvnEKp1U5eQsg6JQ55LNzNRTDuR/Lu4W9XuIGN/d5+1+1RFX2ZFRTodf+B9whzU2RhbWXn+rC3h/2y3FfNhlYdMENvPVeU1hR9GzKQfKSTe+1tcYsQegd8S/mnbGwsmrscdn3GaBPCBe8psh+5YIykESyb6WyZzGm6BYxPOQDGO1o21k6ITx5YUQ+SfOt0agUqnFcTm2GbXqCMZViea8im/c9rwZFhB8NMrXBqL479Apj+jCNhcgWvMEx4uFQS4PSKnqGPVLaXrC/FxYGa4HRRD+fcYJLVBqnlwcgMkwnRaQ4XinAHI5jcucZbsqmfFM+fEbtp0sboeadTKwv4ESVX4CdU687ivV6yuwH89my1pRzlNjK9CL8whPpJszJ1P88PjMS3Ajmiq9c/TGorTFwrNuuG2fmJzKNSB7eUEZ8qi9EEgIHuSLPaksb2+Bvau+qzf2/rwc4rVlBUZhOBjk81oAIXCGWfIem2GAjhyglapJ4kqkx2HMDmi4c6P9CxbjK860O7Py3R3tuduODVec3gn3Rl5k3GBZGPhInK8XXuFKksWF0rKoZ35Kf2xXkHiSQA0Ylm15l92mgXX35HmXrNBMOPEatQlIo/avndke70MxAfWpz7bJHHXFOQbE9BUNboBRGAQlkAkCwN6wrYU18sliccvHdEPdU85nR4n9jtFSMJ7koIcwO/pks+YzSvoPKrsoQ8PPntBeqhCPSu0EnUjfRapT/kz9UB6NFoR/SZiyXpOo0iWsozzGvvI+iHyN55qGn+nJcokMW6pULn2ssvPwnu9VXT6n483/RQvFfsXNqL9q8tumXwmsDcnxtAeGc2sRXSRDcVgiGwi5AeLoOgJZR8DySv8tSo4Ks+6Y8Yhu2GBGpiAu8jyYOO5i/g3iStOp5LEH1lfU24YPBOrbKjzWdAcO79Yg0KGHXqAheO6yNfcLhgs3e5HjavAINxfNo4wRzdByZoHAZrrfIOhHbCBOA3Oeam04vSLJZ0rUP0oFNqvvNY2vYLjDAf11MbSNrwJEMXbBOYzxVeYkVWwxieVCS7SczwhszwY9G2ZSb4LvWvaGyzpDhSGXm31Ix6LZ+Pl2pAXNRBtc113ZBTOY7CNG5rSdUGwDwL4votGXac5TK9a2QCcE9lBR/4TnUPSEPFZh4qk/w2aQZAZ4dmgFkmh13cKoCLWmEBiQutXCZ2A4Ltw9J3VTOCM+NhIgjJeYzrCGfoBS4u75VmE1BpoD/8AriLGO2E6SA4bP6AegyN2Fr8vXUmsrlg3LdePI9NpaeZgSX+42dF5+bOxBA4c/MOzirmacsm0S4Uxv9qZ1khBmQ+0Ad3CjNBxG6doSqUqtWYHalI10l08bg2VkoxGquUjRXq4BSfi2U45XBk7LzY+1J6jFvavDmBVnlYKaNBJ8FKxTnu+fp8w9fVY1Qyxd3d0e5yQWoC6nMIYjUTEiahrJSE3VLSBQTaDfOvUopuFlrzLQBHe7azIVHtjBUhNd8dW4YBVxUfyqMXZp1aJywUQxKGlWAHzMIIoeBpklIcdLOfBshYCQBvRUmyIDe0PRD4FE/OdUj7QYrGZ7ZdyYeWCzgZVKyRK/ks+rhU91KRp3r+nkf6C44IkEkfH1TxseJtFvwV/ZY2iYTR65pJDxutjtD/SWdJdFAd2hLSI01L9pihAurk0tKWtfD5g8+6XsIHEA9NQY0StPXXbhR2aj+eEHmlmlct0foVcMo6XpxMRIpPNIQBfQeyxupQ6ZE2x2T2ug7AnONq0FRf682J+/NTjpK3+C8sIQiX0flT4qo+ejAcwL8wzfSO4p230FmSW8qtlkcblOroeoJUGwXJcwpRwZvyK5qsQwRF5rycTBXWQnZgMOl4n1drDtF95LO+QzUOVVHqWcKH8U+TJkWu7EeB4Hn5BOEiWmlHHnZG9/kU2KMG4+c2qkuz4gtQ92TMkFaq5KrQ/zy04/5OEuW9FDv890LnddzQFH0UB0ag/TC+GKJX7iKFkS+IF2yIcPsUTXYzg1n7ItoX8ELkLbykQmuSiwHqXZmef/TmVrli+raYo9drOhm8dOpofIDb7kSvm2C6gPig5FayXMFrE2XOwb+eAFoISSYK5Ug9eGu7kNcPXW6DkYpBV6UgSm2KPcoSbPI/akUjwZzTgiC2vbJTuHI521p8Yp4O0GIUHwciwV0t70n9WRNpvwRyUpW8wGKtBDYtnp6kXO0mNs/4TpM3j5auh6k0Q19+I54dVZ/7N+6Yh/BA/vcSz8UkgtmbNEgWnX0o5nSivLbmn9GuwQzYYdj3TcymdiAe5EypAG/cTXPjTIPjtuSm//OhkeWrLcYqHM7AtJ908ku6VeG/Qjx6ocS1CYxGFET3wXC696jl7G6b64G3z3/L/d0f0t0y8Tbndj4cAGBNnC1Q8NfpJ7542M8xHWIBGiNtFEtu4GszShElPZuAQkmPl/J3xFGnyOiWY+HSk7nnAF6lYvWT++A3ZWgjE6HEzU626bIrFm3meHpF0XKD+JcJszk64fCu66Z4U1XocR3hQaqP+inV2QaoQ4KgnWChsLIE6S+eEPICwgsc3BXN5bp8TrK6IVJs8fMB6PL/Lmi92mdw6n/fxKVbt95K2sVzcQL04oNHlIQ1Qh/suE9AYAk9cHaSas+ygyGdm9budwUff2jjZs7mTYLkJ4uVZoStWnDUNhwHB1aHTn9/Rs3XWBUW9Rc+NFG35ZiRgqcd4HG5p2xNU/O4ArTSj5fb4ldXmGT0e8yr6ZVhgGSuTv/XFVhQiJb0teXTC3i78RHT646muSowQTHAgmxgW/vcEHRNuDO0XUONyMnsIFSPYoNuSpL/aJRCzWhzgbjIWRxDi0T96J3R4gwwX/7XcwRb1wuHjYxPE7AAgyuqWHMpy4WGNEWU70ahMKjzP/5lZp9l2WhwdbTaykHSn7rJv+fuW5XMupLdAQpwTdNVpw3NplRJaz/zCMS8UYe0LexCWhyCs1MgLZ7MzvVMRvxltEmHNDnyhISd9MYpz7ravtwUoKC1/8bAY2J7UJ6Bwms38X7eQWzjKajlwoUaquaf/xZUX9JGZnp00t/RMrG9JwChKLzGek041bU3Lcw06PPV4cOpj5I0BOi2odn5fAIEWnB0Z54jk2fUP/H+BaKw+0nFN0TIKDk8a6v4qAfQa8g3WNFj44IDL/rGfLFiyfMZeeRy67OBHoBMBo8BcKK5Kil9JJeDR+BShwFdn/5UnKUzmGA6oiP00C+u3CjmGQ9KCafmI7ASKlGLsfRAs5sZBWxmGspfApShjCdYBRb8kabWIkdAV8VX4nEpY+lngdoseE4reSdv8Ud9X2KKOyitUMuzTEH0VNTHVnTQMaF+KjB9aGdZiaigIy+XxoUeFT/3Gf3txEm6ijP82SqAF15s9/xNE5avjrMnSZcCNNqDN06OJ8YULiXV0unXThHgNKYAbWV+PD9SfwTFHRyT4qznY95tHjmOU1djE+jA7yXxMe6JweujK6kO5wyJf2HnFYTRgp7ZPPNo8//HuXoBGiq2nW1nMnX8KMPGgg+aQ0HnXZ6zSvQaTEyL+/t1Sy7gaeV1xG4uYfFBpqpy+uEqEx5zQ2XOIPRj98mBev+Ie59NgHWbDldkUpopltxwVWWOgJ/rfUUqgSX5xBwgopLzJcoeOroR6/efQVWMzXpub48bQWNy+SQCe5h9WwAhUDqwUKpgyOl0WK2ScznxHUGK2C+sb+LDX/sBcRcoILoTdi0jWxhn52BhFd8KBDIw3IShJwHCKzH8lvsomg4d0LgTQddODJTXMwXiaRwjVLDXaVL25mhnnAXGT120sjYDsXQK3gNLN7dc2YgOZnfY/FqISf2JgAYs6xF3Yce7+H3tCXKzf/xWGojIDB2TcbDVopOjlQc+0lOrPSKoB0s/eNJQ3eo7sa6fPNiIctgOj5klIQByYUArHPf80i+zGYCGHl5CBFSQjvSMAXtecVnLNeXSx2n/s2ISmuemNY3EOc6SCrJTkWvqQbXnCC3x/iawDwIAuRYgBqRz/mB9bDSp0UAIHF/0YD7J5WotUdwZf/3E13HvkcXJMmKx84l3fkdUcQ+XUngrMLRjCWbhYSf/S9NOTfqVk6wv6kRaERGFlR/i7Os954kAW2BplYLZbHhtNklYYxtRVQkskg9vjMR7r+IB+HpXrLB1l6XvmcvahvcGEXSpXmKmtzcqc1ZBxKX8+yK65EFvsWTYk1tez64Cl+XtO1PuV5rQjqdlL2yC1n8ArMdD1Ta4gm9KJD3d1sO69Mw1I5xL1UUCxYSSeJZkQ+9XXVli0/Vvx/m3ZJELOv/smyKQlpmnbpXaEjpk7aHFiWiwdlZwP7nhz9VJW5Q+TfRDymhMmpWsUud52oBRzOvVyyfSgdGkLJ0cNr96Axq1e1RA1wU6K87/LxTpe5DXfkB9kBc9eOekFF39nh2FDj4BYeE490ybPXs9peMsSanzuSd6dRe6Flsn5tG9khi00nd93toPRpg+cDZurptNYQbEibFKTIcOG8dyWgi1yVNe2Xjf6Ugg9wWGvI6d0X0L0Jekao07etAJS0HImAlLVZj4U0WilCx5I0XYPhWjc56Kwt0M93yBBUVqSev3SoevjG5CJPxTAZsREU3H0ODiHZUe4ANYYHcBQxcCY8LLIiH4kkPe9sci7d8tK6CaOt+ipAbmxRc8tI2APAsDLFi+I4TI6Tg0kljds+f1e8tYwwhZLdn5596ZP8dorYo9TrCA3ONUylLEHQ8Zme5YSIHMtJaZ/yXvDeCd4ajqmr4KD+r9tAoxelP0ddM5Mjjbc9A9ep8Yuuric7iQSZYU7SB0i7mjWqpYp3f/MF7xiN/7lMfTHGxLH3Sc6nwPMUFTxahc5uHyK7VCDTkomZHfwJbZqLb25rI1yjRujTwJX/OB3nOxATGbZ/im+6MREpzN8d51thuE/UYXTVo/1dJY0yW/QoAWgdGi3Lp5HE0A9GF5jS8GSR2dwkqzgG/nKFyfUhIZLlISgBm02TXNGzsiLkXJvZxF5KoWNx96lBnlghBm2dfpChc5bVp1wpDtKWOlR0UkL7uoicrVqi0G7B6TtquJ/HyHkmhLlGY0MXldfoRCgsws8zB5LI+eknGIzNp8a+uI4fgZuqmbXpeOIucvIqSn1GxQ/c2Q4BUxfLMJuV451l8/2z4mMzr21wXEQi0FisAX1zqZQp9V+zjOahykA6XQouEBwaYi/+U0iZ7KDpL8FwT0N7bDqiNV8W/ikf8+hA+YdMSna4r0Lhy1zDxnIg/GqepxNmYudMdJL/bjpWRnnvSMssK7wAlF+hg9tgtEew/XD37jDxVMno954+rOQjzQO+0Yv/7EpWmxgmVz2CvmMpW/6azidcRafPFVSMq/lpOxCQkVq5WqaTD0DsQH+zizHZY2dfR9z9G1ivL/PcDLmKYxpitwdST5QsKJS22umhgkKnZDhoJTRMRFnTlpXxh+r8Vuxf0r57AxITAFQAOXpgNdeYUUrOI+wiK5BItukkRKg9hAP2y78TGImvzXGUAFTYOzKGGLOYxo+E3neS13onmGS3pSSWqpPSRzBf1tOeq/w/r7r6fI9450FzkvWLZSGPoK6G2t2ulpMIDKZ5ab7HYu/gBETGb8m3AkQTHX5pu/65/crHrwm2FMUv7vn2K6By7KmjCyFB7udWJFnCPeRm96cbk7+xqLnd/o1hBClB0Qe5ah3Fowg8lbcbVwBhew+TJ7Jq0Airy5SjrGoklgMqMfb+zTxp0A+MGGVHwVnKK/jnaKYXL26oz5UkXLy80TjUxEaW6fIYyKBSEOmY/LKidu4Sak/9YzMZjVA8QGiWfvijKtEtt+q5ZOYORpHMNwEqdzh00TXwFPKd8f7PTottrKTLhnQakLAltAnsF2JqU7qkq+0M3EbfK6Q5SAgfsI7cgDvBiPjSbx8R4wBOYvPNMVeKE8eovr/b8qpJ2RYWFNvfAkGRmbS0PJknOjibGJPKpodafKW8/kP3LTfUAmbbouDbKDnCVDyTFhfqAbngkSj3SwhX7qdNGhJt+VlIBwFtWo4lIWycdu35yG0TD3+E3T39WAAxlUhHNg9X44gnADZ9OpvAtjN1CwkPDzWPG4YGI3ZV+Q7FEDx8jO75IqcFpotoeG3YP5UXWYuhsAEIRI7coMH5GEJTFWqG/7HSi91Y6oW0dDv6V+cgR4vdvZ2ZmtM8U5iFUGap0pnfevTW6ps39MZB0uOLzC0ElRSNJBHkeRa3MF8ttvzh5nD+fWPpsAC51pXv5TuiH7Ogv2v/VgszNPzL+mQ+rMnjjfNWc9jJ5I7LWH3mClo5EEGtD0sVqeTnjKo6K4YTnLEXeppQnbWxeKq4LRKr7II21roVszqWis59O44HsqOhexnKFfByG5rv6vB1mm4/I9p0Fv4EXOo+Mk5KiVEm32FKoH2KzvXvVGNb4a63aRU+NfmNdMNMPurb2fhTeIIR8DH3FjVrOfTxHZUq5TzYK7PNwHEd2QEKWKaoopHtXGb7TXMdDPZboQweGk4wXc595jczi+iGJBUklXuFvIUKP4K3hGJl+Dcp6/29YDXBAXIBCjU/bM4/5EYnQfmhu618poqzTl6zq0E861Jgk2B7ihDnM68WtVMI8MCwAkcMLRNqI1AlFeSvGM0hgn3AEtiTweNX8KEyZRY2W0f96cskmS7Qoxojv79tWM9dtopxYJvpXj4GK6lVz1cJZ4Umh2rAutkQGLXOOFrcCoXzh2KPX2UAWdDszOGcHeabU5YJwRE9wO+8/pGGyiS9fUKXoWYewUGOfEQH/1w2Gjti737mwJOHwPiPYXH98LM+zX8v6g9xA++XvxwXyKWTUlYYEBye/4twJqEzfCU/MN4L9pi38lVHFoo3l71qexeIVWVqweDb9VEk4MEQIlcVO1jx7DVnkeTJnvZIMlt3x0GwtLZ7RcP9MEXN+ylg5UeXIMeFXYaxQ6AOxaOtuMqLOWG/c4rhwtGLoRJvpBbt9Ntmg77lyRWOPQM9Hc/PXuRK3bGJAzEA8dxLhZe2W2m/np/ThxIJjFOSGDtBW4kYtds30RVCN9DNL8GwUtJzEgo6UkRY+tZJJZ/X/irbs3PrToAW/MKYlyUeJEBRRXrovBrz8mWcALwX9C/h3VdtGcEMPjXr9QWvTZt2AVD3BFWi3DUhFwtSP83ja7Ldla8EAG4zksT+H8xPchIKbxNj42Gcvi9BrblB2TzN+wRY7Xy6C2uWu9okD0hG58c21OBjgQKvnXIqbtzWN5KNGs02VW5I2x1FJLaVq6wg40KAHXezd2uBU6iRjyftf3BIC7/yWNTgK+NuVCeVutlUSSqbsm3KcQLoaUrzETpLMmWb3v6OnPCS3ZuGEcRFlglta2ibk12vOzIv8pIxQ1CGUXFRSrSg/ynIP/T+5MSXyMhdplPFrcl85e6B9X8gdpk47nMJD+scYcq1UMPE4So/1Egx440vbEvcRYUPZaP7FKskLSIZIz/Wb7Ye4A51De73vMG+ov2tpQn/7jfZ05jW+15hOCjEdWMamAYz+j7G2cCN0NQo7bN7HgtgV8st0QGA2st8A2ecNpyI+NeDLo73MilqDxALpsLL56OWEg1qunjykhInqL9Rq+uEL2NsFJuZcXE6y8dqLRnWFgwD+YuSPDbx5tAy+T5mSsW6nsU9Pji701fNtleZCryY3JjySf0dFn3ZF58+k3s0R90Jt++BsYzhAfUY19fo5L9XbJ4U4xKTqBzCH5qNkEi138zshPmdeSlvOrnY56WU4e3d25pnAH5/wrmtT159DkZRvp+7/sieswHshvm65xKVz9oy2MRy8b+pPoFgIfqvV/i+82zdFqvs7W7qIVUkKRVyNKZZBSHBAZf1jlVFH27wA0iGLuMfwTg+nOvjyF5D3oiZxHaP/9ptSi3BvbSGUmy7o0IHv1P0c9Xlc8OXjl0PGEZldJmxVRlvR2OfNIX1SdsbEy5KhfpxK0B1BJA7ZsnENx7K/kfFtGSiaFuhjktZ+hap3ZtFeZcK8nx2uw08jm3Yet381XsCUZSbJktCtjAern1kPCzguVmbxZXxIWsugJsGrlm7DH4JEAt0a5C4Li1M3NDZPGEwq8Qk9NTEWSUtBpTznpw02YSKqKt7ruwaVqps7JFKoPaUIzKIpubzR2q0TSfTwkeq/ejc7rPF5fis6BDOaTydK3HXuFo+eS7N8T6ySw1f6/fU3OCu9gFmCODaKyhfm+C3j0SIUcanGdDguU4laX6Lch6sbxZEMKRjJykfyXWsUasf46m7l/ugVGrhrY/w4DGiNVaDbi/YsmyrKUR91iA+Weeu8suEflhRd0jJT5TR+7Mu0icQ8nfwzoAc3YtxKQd7jEQ4oOJ0ZXqvRYjj93mZRun0iHeG5yalw3lUksnTL7iaCSk5ju7emAxzs44vSIBYjGt2Vqg/rN2Eoav+tOFoRLVwwWsXe31l/iLj013XCxeGR7SDM9dCIhSiEdH32zFXQG2wuvjjUANq9SN2inQRJBrRA74WwCp3NDCPA1YPSkYfCrEf85piHabj2YudS+JribyDG89VARPhhc+56Ghn+UEWJS6kOjHkMeEaI+HS6ZD66KRazlnbg+UVu60Zmv5+eyAN5BgLf7mlGLvZkMSyP+yJxoGTZPj5LTkQM2fUWHjIAvLIPn0my8ROthuznNqZA4J4DNMekL6kzlAGwwYrsA3YaCGI6a3a+1fQWfMxOHV0ZuHKtPXrkF31IjAkr+CfKx5rddi7Ergj0vwYGC8NA8f7gKnP4g1WP/UQFpHKaQKDeY3S+eQ3mqrBh5YIFxDshAUJ1lbPjyD0CFhE2uwD0kbBXrti7odGMWuNenP9oL1Jq/1h6zQS5tD450uZrpkQ6RwALd2oaQrT0Im+7JOI1TfpD8P/FehqtIHAxDQl5nWtlwEkDWhM0gfOWdeomxswsVR00G1AxxBpAi3zMQZmblnC5MSkyn+FsHw9N49LClwbMccrOwnMrhSLVeWTpkiwgrc/bxsFGxGU3rjuO03zH8aUelK5haXG+yKaC6WRP3yKW54LjC5HNenruLkQ3/dRigHfeHz/SQwI21KEMzlNfxMCBVdpOhJVayLY01G8VHddgUuIDS28vvnfa8u+T2H2ny7aj74UpvsSUjWCoFW2FGc72h+AEwMj2mELSu7E0ISphIJAFd1g9g0tUSEE+syuLpqVgQr/KcB9lHhgMlf774wqX6DPoZa9fKuNVp0Q9ByOkrkBXoEYtVwrY05ptcXeew74LclMoNfcP53bkG1T3GdrP5T9tcW7Zcg9KiCJccS/i0U8Lt5TaapDJqukynGPKwNeWoe+C03hmrLrhqwz84P+6kxYbmXdNgV6SU3FcqkfQHVIJIkmWGcTMe7kdcAY2snMcX4u3p7GvLdg962gk5a1w+mJdTkl3zAKc9lxWoCM3ET7/QxvIn3nT72C0+EYDB3NtWjYwcGVAKJpn1jO4VOXNgZJkRbKkohDOoQmsK5cJVLmghhWYdZzF98UMi+K2Z1TpF5EpN6PPGz+dBw8qFEN0ANDtQR7qfLp8pG4ms4gGXPuK/gqM7wIBXaiwOWvcIjqrJLOG8y7yLLwLk4pl6Y98lMJKCwaYnpWEmsWpJlrLBfSw6TPgv83jmumivd1FkNfV89+MlAfaL09Ch+XQznfmOxsCnsophpMhhiPrk4eJKIT90nsh8lmRRTeStgMEFPskY+DA3NVBsC/AdExTNwdhrxhPrTb9p0OcsoFYKMee7Lu7BZjmEQFE2XcMnBzwflExEvDW0TilS+LFdqNJv7h65y3/MsTuHbBZy6N48PgR37QZlHmiH4XS9moapPeJo6eIFwBbaQvCvhKLVMexqvCDOvXs814k7+GTq5Sk4EU3QnYagcSWu+HEQQkWkXRWtCY3TqINhntk+aTbMtnH3R0ZnbocN5UdWj3trNs9POk6F7z6SRVpl/+WNwI/XlssossdhW58dxxj6RknRD6KG/tRgDs9TNTXPkuyGQ088dxb1j8uObN7pfks2lQD4VLj87OxktmDnK6vdkwE86IoVxuCx+2c6JAoqUrxSMZfsxhb/ZxaYKhNcNUEmD2LgnmjcHmXxUCEtu0M+xUcNkjDjur1dHLI1E2qIkU08F+ZUPM/+q0lDZH9SaHtGMCABOiQVBVx3oCr24lJtnyM5x7d4OpWewJgLHrtly9H0EW/EWO5b41pp2ncjgUItZbQtm+arpM0yvRqGPRQ0ju5N1/8SqZ0z2BeztVkJM5vy6tKhF+RX2EemdZW/AcEEN/9ctRdoWGn+mmZmugPfM1159YoCWXh7XuKcxP0P0M4cV8qk0KWHezlfOAG4NY9AdOspq2laLpD+f11UR3sv/eKP45n9YKZNf5RNHeXmLS2vocUYDu0mz82VlJYVR2tZup7HragQI+edKvYgPuFoMOjlBNk0v+tNYR4QFK/KVdCCBz48iuP5MZ7/kq6+fZ1tO/mVQoHHu8/ormogFnKlUJBI6RN8SZSh8zCdRkTbDcb9KYi46enXfd2Ak5YIUDMBYXt/mX5f2OgL12UtiY5hWUirpns5OfmeT7QeoBvE/Ofg0UV5+hBiYZeR2xTySlHZPgW0W6xow0MJNN7ECew8qnslcR54J7hC3tScFfPiQY2AccT9GbhvoLDgN7+v4+6VQ8mJDhBC+sqb2e99iKxx6/ELiCZE/2Vzw6jb+ZxpmgAkoZIHoXvMmG/PRGZEZrfuEtszrIXrxSP/0s2PttInl40Yg27b4KRZeFYon+SfC8vfWJy9UtXKYYrzyefFIBlnuEGsnz7kqfuhJohwG2cf1OHV+wRRFd+jd4vePqr50GM8T0RTcPBU3tW0LjQA+I7xN4XYINlevOWl95R/E9R3hcafhssVx1NubKsLE7CgfQKEgzyTFJLuarFvccyCcTwuBLDjGnsfHwtrRzCGSxFIUJrkMxZb8O3WePWxrZRZPgBn1K8ZtZ5SKRItKhYUyFPhTCe5+pPUyJLn+OAPjFg3F6SwxvRIIpdn2/PacL1HSmDNJXF4fJ8yWiWBmh6vr8tB+JYkb6UDkoG6q+15k2DDhXQtQEV75VkVgvZ/8yMP0fuvj3d9auDE78Bwxqaeh+VJw2mQEwUANK+WTekQzMn60ezvVj8qJjYUcBzvJ4EGopSgkN2Yfxxo7lQhyfmj2mFx3ZZ/lARTTygkTseBVKOxHn0/nD3Vh0yiJdmztJp0mCijatetKV/4wFA5HNzKfoub2sMBfZo8ZQjowkX6WOdj4FwT1AIWm2Q8iJXySXDzirW3TJW5kGL493uIcoQl9tPjc5cxc4ndLDeJcZQYZgKsw4ROsztSc0b/J6ijwnKO+dZSTv6Q5PtQ4bxiujvBrbV0UFLgPkZUyKnq9h0+JrS0oneEuSk1xuXtFyINTN5GWjtclrIcn2ZkIpPSlyrAOHZ3/ZrtCLVzwUWOlOC+JztnhdB3fstX4yPGWJgM/iNq+cDimOi0Au7zjWygSzALd3g+x3f8WyT2nyJBCQuxrLtSfH1QKB0eoWFXEXmzRmRW2YmpfkyrcZyJnW5lQJH7HW7nz/PoLr4oCIC6REAv6qDLOUSH6u1LvMBGC4WGopd328vFWGwp00c1ZU+HXlPMDZy2vVTexdRw+3hQ2ZY2HyG83JTw4PSwAWphriTxhsKe9AitMqagxvoHYVRwAaeUQ64EHRSECFBJ0tCyRkZ4Imk26UT6FBWKcFEUQohKe+eRCs35CCc7ENnAVQE+cjIqvwHgL0hWEjcBsVpzbSX2ZtLMyKPfpAJPhE8TMzoVm2E7LQn4d3s0tN616cyEanLsRaIQzVciat7Afa1TUmVG++k4CFizl7ilNtwounZxAY90+UAih1CCkR5QAR8o9maFg+X1MINl1T3+0G2Kl5Tl7kmFkrYa45x8/zgTZDU5Ui+/MeirOZaUlqzjEOU7d9qLw3xHAkxaO/wmQqIwlWIO09tyeNCApUdWKI017FzuP0PqQ0xJSBdrSy/7HEbMry1+9IrsB1ez6Fahe3UoYls1R9kOhRuVe4n5WYDjzCgCYGbgMXA52y4SfaU7OKay25rjbapesO0Myp3IGWm5xExrmU5h8A258XSpW0g8ip2RxVu9iq/MobxqIJ7TGYJR0n7ko6xbzJOsO8A9TlOt3T3Ic7a3256ewuVvLBUrKTrSJrPYjQCYWKDLazeDDw/b/7CMq1WXiAYfO81GAGwlu3O0UEzDSfKLd5q1NazsLeeai2iUnIqOFxfMBFOjL/mpE1+nK8FyuDVIyeXWzElTKJXMb7180JKcyAAY8Rh5FiLFkB+MwZGmWFq/PohZyJ664h/Y2U5wvqpfUia182gvD/X9Zcr6Dd/DzCbZH2ltDoXRwjoeVhFr0Cujic/893sCHxiFZZNEPH21Zkj2mCVZw6+we5QS0OBxmI6aqhFK+7Tvk+3OQTewmyWtkkH2YoVAQgvJi/VAKT5BxHokhhYNxknoOcpxpy6ACanzl3VsCjyQBWsCznB8inIfpGBN3AtGkEtn3Q8budodFCfjBBqzhc+gscRo1xBBuvw0iDE43mOXXLtCAXpqTDrFCcQ+g+LLMuwXchDV8b35Q1bw9NfACk+6oiyfjAWGTnxvb2eyyO6LyXmhv6lg+m3fmBZOXY3CKwYsMDrA2k93chK9ET56A8OXv6xDZP302eCHtWqAoTw6uvAYgBXgBZL3qrFuMyju+zUVqD5Eb5oGJZJ04yU/qfmWTbeVUTwwQn9V/fvGh0Ct3175NmJzlH9gK+tosGayEon0tMaF/Xg5uWLHWKUYuiXqqahbGIsrMt2SnAQZ09TwQWeEsvKFIxgs8lNEByyL8DVFJTOxwtBa7hNd1rcWTOEKhy3Uqz3Grp7IBYWxlf6KIgvzW3Lv9H6Py5V4d2LJJR7BNKgat3JJTgLosZ+m2MKqbxndCjsAzH0elbruSkg+fyXhh+GOtfK4aR6Xqf+Mxp4vY205yJooju3y8xe2qViwthmSQDX6+aFmf6xL9VqjNaSfhZbdL/RSLuPsaS09W9HI2IMvNivfD0kzCxPCnJoLwYsUYpIdc6L6RiBOevd8eDjv8hq2T7CegteH4jibu9fmyoBoWaCChsUyE91inqxbElu/K4raVpIYkeK8D0uOAeUxpozZciM93zL90eCs9EgOdM44RUWTEhE34obKQG/WoInH4tj1mtjSmrEB4eLLemxESxAkJbXnx9GvN1j0t0dAowG3REaOjbosjtxHPzZc2uPhoNhD/HSvLfKk/GgouXYA8aM/3b9TEx0Ewjc9dtA/asKMdnP0a3WeriuftSPuEe196HlZIAjKWHDL68Jd27NH8N91xwj9DFGkjW/UqXSxqQt61VSAPfylQ10ie/T3sMflzFRGcqs081bGifkh3J1qg9FxQcFFtPbt2zvH5bRJ41ZGVSNiJeGQe3F6mFD91QnXNPbaw3RDUSIsoi23dqdmRXkIJSvjxYjM4VmESj0E2zeIXlevUBInM65nAbGQgVD/TVsZ70pH1h/PDXXbVoWNtz1SHEpQSG+rLOUVeaCzOmYk4QLORNrV1Hu9FurBQwEvsxjB5uNnHr1tZMn1l/ICoBK5TawSoQJY4RubsivFJSO6lLZh+LeEeNe/nC7a8UpkxFQJxKEk49Zs+f1OAJlGccAm5gm2O88M3frB/nJKRPThL+5RwYUai0gq7cKxP7GWgOmys5tpNeC6JrwP2jb/dvRbwfNZ/KiuNXmbYNcnAHLXzdOow1OLQUk0RXGEnFDrD07C6Wd2lrgvQmRowPr3kVtqNTJ7cM/cn/m2HEmgV5dqDglsrZ1DhFKzZ/D6GUG2uJD/mh+NbdV/ZjpLULxGXAPQgJFdqcXatPK3nZZdoBpOLisnPbSXsNuAxh1s0migE+zgmvzwL8nrXMPV/k+hwGVVWCsnzZ2vkkVEKHyFiUb+v4TRvysuunsvxCyBi2XiSpQIlITw7s1jQJrzr4XiopUG6lbdhybGNqLjGv/Bn9IXD/NbVALAkVe4doI4KLBCJzKtHiCvercu1+f7XIbPoDceXjrU1lqpVUKYs5P6u/4Sy+0Wa5ePqcCEtSXcvged6EOVd9MiqSO1Xs+Rpv2A2Y7VRtgdMyd569TDLAIzf2ftcxz+atXU9KxIvSuUuNCx3EIjMSD/+jwhuapUe1nPcldojAGarlVJwPXzUNXXMhJMEs3KbC9ADqFCLaEKcZg6P73qOMs/fBXdZZ3zV7I7RbL/cpA1B8NoMFF6O6cjWekWGIvsM+cT1XokJEk0PG0R/XSE3VTBzIXRHpBxfgVFKQHgJRLjiHQ3EZfg2t5xXSRTuuMSqHGwypdmDGAnWJ8hnBE0HAF3C8WoVenBKJ43xe+1Uvw7p5fZRbTpEl8PzaoF6zPb0K6gTQxxBlje2rbhXG+Bx76DFAXG8wONiegHvvMpzMXA6rkUmggMxZuXimGFX6oRfATZD/INkIDacZMUWWOMOevhF5NrqKBD2wfSbPbRmkUoTs2ssRZAD3GTIjshQgpgVYNU+yhRzx6NRoxqf1aFAcqp8YLHuS0gdLH/VWvMr7y7ZwrHTar8f82NA39XdfEr59C81uZ1HJKzhGHA6LhHxowB3YDoM2VNbZqw02YrecaFFgefvr0gCsE6HC41/kvWaAQvVRb8QIxrIfnAYvcv5sDN2cs5TzvW9eRPRLHdPbKFA2zpSALwf1glpj6wm/YXz3TL17iirPy3CjQxx1WzpyELycWIATYSSM4u64xorp908oMtIlCKIPBz1gXYJJGiVIgVKiDS+7UrUQUHl6frAR7uaYySuN3WoUSp/BHO/tSSRs/bMyjl71QdAB0+R2SMc/TVA5Y1PaSIDMA3L4WmKfCP2vhsGJEj/gUUudRof4C11clleN9aN657KidkGqOE2ovP2TUIbOWlIoXkciqd9ggbtQ+8GK29QhvFTf0HzI/GwnWhUDgfc0crwviWBpDouj2i3yPsrHYU6UhAf//FlU+RYosmbntbqz/BMKuwXCckxDLPKcrcYEM2FcHCs5DecAVaMgW11fqbLTnwc1vEKCEmFhdyomJDFznCgYip4d3FPcad7PBluH6LndDJlLMxH3Qps+2uBsU42ftMdDXgmAN1iArdGHEDsP19kSAqHni00leL/bHsE1V7ab7vEU73nweGfnBHXTrqbMOZV3RjiLdFNYhVsXSnLLvy2/c7Fyis8szNHLJsSndV+UaKrf6AEt1LXMBGQ2co9jMuGnvC+Q05GkX84x45F+pw4umKQq1FEkGDxCmAU913kmwGFY2inAIpjBW9vBQu0TEYAyEX277Z8Imj3sGBAnISrnnUc3Vwtr2L0TA7yk/B5abvfGZL0IdXe//GNxd6F9fgb/Ll7ScayfRWX4C1PRXE7w1JuxRuRS4kKP2fG/x8EbNZ0JgTj0SWJKcfp11fc94BxLA6sY0Fl7xsHL8/gHXLTO8xtOcwcFthqnklO3SiAPKp0YXpNFxfc3Bety8l2mBsjPxQ+Uay9c2e0VeNuLB7QBmVdgDYLDpjTDUYY6fLEtXs1aJ3zX2mPsedf69BhBYzqaf5g8jR0vGh/HIkMf3ErRD+QQRdF/zXo98oxKPffgHXTBTgNCM58h+Xe5d1Y7MLQBr9zDvv5YZQPPEwuLEsO57LrNYhpvXSBuV334nucuRTXU3gSax05BMUuYDSGbA0xFs5jsfaepS2SmoOmslziBxytF7V0dEKfyQWsuCTAyn2JktfXvkmWRCyBAYVLtd5z2HIcvrw7nhNjQKBURDp4XpvnfZdDz5eGnG7PAB8IVfM2hR9WfbflI02+Okkm6Jy68aklsenqPvOvWFiynMv37h2X3ydn8PWB8SWKqwZDXw534CCsEyLafY62FFjzcx3Jl//EB4CSiZHigfZsx14ETBod268e3TxyRLthJPqwf4fhKrzH1vWpXmkkBT0QLTXVyhRF6T+fGQ65KJ1hPn890BkWOApKIthZssq0aoTT6M78b9YCqEvTthbv4IcDwM9ntIxKiFvFOmavChWnm/aRCxjk9zbOpHCydOoe2DXIE1Vh/GKCfPK4y7K4S2fRwonngoh4C5WbdRAJsODIHdXedL1DKhchw0Uhf9VfAIebehNENbHzSCoVZJNEholPqExfMn+brxA8SgF2JAAKQNpnti0y5dsS5puhRI7QOCCFcj5gsHb58QdSfIWJPbi4Un37pgeVdaiD4OKWEg0616IKX7gM4jz40YEkKTFY35QBf/Asd5a1Fw6CdHQF/FL00yAAj1fz0Z41C301dshCRJEQLA1N/TawPISANJ1Zrjx3yoGdxINjEeqyhIEBfEvu88BJezn2J1KaMsMBlbHSayT7gB2kfSM2cq+PIBgFo5Fj2bTdSKTUdDqCggsuU8UJ9eptKOQwXPr8pyzxapRX39Ixgx2RJcwBlXc4NA5Iz+KayLOLqvixUBQxgYUSUfRn+UW5Tft4CvUPq3vpTVOoNMFtiH1iTXz8tdOggGmDZfOX3KU/fOVQ0fykthXmRNc7gBZpqPKC6LSUs3oQo+Jce676QYaj+3Uvoz0meVkoOi3jJVM5Q=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-158806859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-158806859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-158806859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-158806859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BainTable7434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Шаблон слайда АФЛ">
  <a:themeElements>
    <a:clrScheme name="Aeroflot_OS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0">
          <a:solidFill>
            <a:srgbClr val="000000"/>
          </a:solidFill>
        </a:ln>
        <a:extLst>
          <a:ext uri="{909E8E84-426E-40DD-AFC4-6F175D3DCCD1}">
            <a14:hiddenFill xmlns:a14="http://schemas.microsoft.com/office/drawing/2010/main">
              <a:solidFill>
                <a:srgbClr val="002A7F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слайда АФЛ" id="{15B56967-F4A1-4C80-B422-1B77269576CE}" vid="{42466F82-EAD9-4AB9-A5A3-72D67183633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Showofficecode>true</Showofficecode>
</file>

<file path=customXml/item2.xml><?xml version="1.0" encoding="utf-8"?>
<Showofficecode>true</Showofficecode>
</file>

<file path=customXml/item3.xml><?xml version="1.0" encoding="utf-8"?>
<Showofficecode>true</Showofficecode>
</file>

<file path=customXml/item4.xml><?xml version="1.0" encoding="utf-8"?>
<Showfilename>true</Showfilename>
</file>

<file path=customXml/itemProps1.xml><?xml version="1.0" encoding="utf-8"?>
<ds:datastoreItem xmlns:ds="http://schemas.openxmlformats.org/officeDocument/2006/customXml" ds:itemID="{E3426CEC-B9F0-4E12-AAF7-8243F4568D0C}">
  <ds:schemaRefs/>
</ds:datastoreItem>
</file>

<file path=customXml/itemProps2.xml><?xml version="1.0" encoding="utf-8"?>
<ds:datastoreItem xmlns:ds="http://schemas.openxmlformats.org/officeDocument/2006/customXml" ds:itemID="{C406A9C7-CE54-4FE7-89C4-F330A0A96CF3}">
  <ds:schemaRefs/>
</ds:datastoreItem>
</file>

<file path=customXml/itemProps3.xml><?xml version="1.0" encoding="utf-8"?>
<ds:datastoreItem xmlns:ds="http://schemas.openxmlformats.org/officeDocument/2006/customXml" ds:itemID="{58BA3920-FEE2-4D4A-B931-CCACE0B8CFC8}">
  <ds:schemaRefs/>
</ds:datastoreItem>
</file>

<file path=customXml/itemProps4.xml><?xml version="1.0" encoding="utf-8"?>
<ds:datastoreItem xmlns:ds="http://schemas.openxmlformats.org/officeDocument/2006/customXml" ds:itemID="{D060823E-EAB8-4DA3-9F7A-A5892FC7CA4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Шаблон слайда АФЛ</Template>
  <TotalTime>87440</TotalTime>
  <Words>1107</Words>
  <Application>Microsoft Office PowerPoint</Application>
  <PresentationFormat>On-screen Show (4:3)</PresentationFormat>
  <Paragraphs>156</Paragraphs>
  <Slides>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黑体</vt:lpstr>
      <vt:lpstr>Arial</vt:lpstr>
      <vt:lpstr>Calibri</vt:lpstr>
      <vt:lpstr>Marlett</vt:lpstr>
      <vt:lpstr>Verdana</vt:lpstr>
      <vt:lpstr>Шаблон слайда АФЛ</vt:lpstr>
      <vt:lpstr>С 1 ноября 2016 года Аэрофлот переходит  на новую структуру тарифных групп</vt:lpstr>
      <vt:lpstr>Концепция новой структуры тарифных групп</vt:lpstr>
      <vt:lpstr>Пример новой структуры тарифов  в классе Эконом</vt:lpstr>
      <vt:lpstr>Правила применения тарифов с 1 ноября 2016  в рамках новой структуры тарифных групп</vt:lpstr>
      <vt:lpstr>Тарифные группы (бренды) и соответствующие им коды тарифов</vt:lpstr>
    </vt:vector>
  </TitlesOfParts>
  <Company>Bain &amp; Company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пуск программы внедрения стратегии группы Аэрофлот Установочное собрание</dc:title>
  <dc:creator>Anatoliy Yanishen</dc:creator>
  <dc:description>Updated Feb. 19, 2010 by TJN - new Bain color theme And By KMA 03/03/2010
Updated March 16, 2010 by TJN Updated May 18 2010 by KMA</dc:description>
  <cp:lastModifiedBy>Semakov, Alexey</cp:lastModifiedBy>
  <cp:revision>4058</cp:revision>
  <cp:lastPrinted>2016-10-07T10:20:07Z</cp:lastPrinted>
  <dcterms:created xsi:type="dcterms:W3CDTF">2011-06-15T11:08:40Z</dcterms:created>
  <dcterms:modified xsi:type="dcterms:W3CDTF">2016-10-07T10:5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Type">
    <vt:lpwstr>BoardWhite</vt:lpwstr>
  </property>
  <property fmtid="{D5CDD505-2E9C-101B-9397-08002B2CF9AE}" pid="3" name="Footer">
    <vt:lpwstr>True</vt:lpwstr>
  </property>
  <property fmtid="{D5CDD505-2E9C-101B-9397-08002B2CF9AE}" pid="4" name="OfficeCode">
    <vt:lpwstr>True</vt:lpwstr>
  </property>
  <property fmtid="{D5CDD505-2E9C-101B-9397-08002B2CF9AE}" pid="5" name="BackgroundIntensity">
    <vt:lpwstr>Light</vt:lpwstr>
  </property>
  <property fmtid="{D5CDD505-2E9C-101B-9397-08002B2CF9AE}" pid="6" name="BackgroundColor">
    <vt:lpwstr>255,255,255</vt:lpwstr>
  </property>
  <property fmtid="{D5CDD505-2E9C-101B-9397-08002B2CF9AE}" pid="7" name="Offices">
    <vt:lpwstr>Amsterdam;Brussels;Buenos Aires;Copenhagen;Dubai;Dusseldorf;Frankfurt;Geneva;Helsinki;Kyiv;London;Madrid;Moscow;Mumbai;Munich;Munich (English);New Delhi;Oslo;Paris;Stockholm;Zurich;Zurich (English);Melbourne;Seoul;Shanghai;Singapore;Sydney</vt:lpwstr>
  </property>
  <property fmtid="{D5CDD505-2E9C-101B-9397-08002B2CF9AE}" pid="8" name="RevisionNumber">
    <vt:i4>77</vt:i4>
  </property>
  <property fmtid="{D5CDD505-2E9C-101B-9397-08002B2CF9AE}" pid="9" name="PaperSize">
    <vt:lpwstr>A4</vt:lpwstr>
  </property>
  <property fmtid="{D5CDD505-2E9C-101B-9397-08002B2CF9AE}" pid="10" name="MoreOffices">
    <vt:lpwstr>Beijing;Hong Kong;Milan;Rome;Tokyo;Johannesburg;Sao Paulo;Dusseldorf (English);Frankfurt (English)</vt:lpwstr>
  </property>
</Properties>
</file>